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886" r:id="rId2"/>
  </p:sldMasterIdLst>
  <p:notesMasterIdLst>
    <p:notesMasterId r:id="rId5"/>
  </p:notesMasterIdLst>
  <p:sldIdLst>
    <p:sldId id="715" r:id="rId3"/>
    <p:sldId id="717" r:id="rId4"/>
  </p:sldIdLst>
  <p:sldSz cx="9144000" cy="5143500" type="screen16x9"/>
  <p:notesSz cx="6645275" cy="9775825"/>
  <p:custDataLst>
    <p:tags r:id="rId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690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383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075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767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4575" algn="l" defTabSz="913838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1477" algn="l" defTabSz="913838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198400" algn="l" defTabSz="913838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5313" algn="l" defTabSz="913838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orient="horz" pos="1393" userDrawn="1">
          <p15:clr>
            <a:srgbClr val="A4A3A4"/>
          </p15:clr>
        </p15:guide>
        <p15:guide id="6" orient="horz" pos="2958" userDrawn="1">
          <p15:clr>
            <a:srgbClr val="A4A3A4"/>
          </p15:clr>
        </p15:guide>
        <p15:guide id="9" orient="horz" pos="441" userDrawn="1">
          <p15:clr>
            <a:srgbClr val="A4A3A4"/>
          </p15:clr>
        </p15:guide>
        <p15:guide id="11" pos="2245" userDrawn="1">
          <p15:clr>
            <a:srgbClr val="A4A3A4"/>
          </p15:clr>
        </p15:guide>
        <p15:guide id="14" pos="3243" userDrawn="1">
          <p15:clr>
            <a:srgbClr val="A4A3A4"/>
          </p15:clr>
        </p15:guide>
        <p15:guide id="15" pos="136" userDrawn="1">
          <p15:clr>
            <a:srgbClr val="A4A3A4"/>
          </p15:clr>
        </p15:guide>
        <p15:guide id="17" pos="5579" userDrawn="1">
          <p15:clr>
            <a:srgbClr val="A4A3A4"/>
          </p15:clr>
        </p15:guide>
        <p15:guide id="27" orient="horz" pos="577" userDrawn="1">
          <p15:clr>
            <a:srgbClr val="A4A3A4"/>
          </p15:clr>
        </p15:guide>
        <p15:guide id="29" orient="horz" pos="250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>
          <p15:clr>
            <a:srgbClr val="A4A3A4"/>
          </p15:clr>
        </p15:guide>
        <p15:guide id="2" pos="2116">
          <p15:clr>
            <a:srgbClr val="A4A3A4"/>
          </p15:clr>
        </p15:guide>
        <p15:guide id="3" orient="horz" pos="3131">
          <p15:clr>
            <a:srgbClr val="A4A3A4"/>
          </p15:clr>
        </p15:guide>
        <p15:guide id="4" pos="2146">
          <p15:clr>
            <a:srgbClr val="A4A3A4"/>
          </p15:clr>
        </p15:guide>
        <p15:guide id="5" orient="horz" pos="3100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13">
          <p15:clr>
            <a:srgbClr val="A4A3A4"/>
          </p15:clr>
        </p15:guide>
        <p15:guide id="8" pos="2142">
          <p15:clr>
            <a:srgbClr val="A4A3A4"/>
          </p15:clr>
        </p15:guide>
        <p15:guide id="9" orient="horz" pos="3056">
          <p15:clr>
            <a:srgbClr val="A4A3A4"/>
          </p15:clr>
        </p15:guide>
        <p15:guide id="10" orient="horz" pos="3083">
          <p15:clr>
            <a:srgbClr val="A4A3A4"/>
          </p15:clr>
        </p15:guide>
        <p15:guide id="11" orient="horz" pos="3052">
          <p15:clr>
            <a:srgbClr val="A4A3A4"/>
          </p15:clr>
        </p15:guide>
        <p15:guide id="12" orient="horz" pos="3079">
          <p15:clr>
            <a:srgbClr val="A4A3A4"/>
          </p15:clr>
        </p15:guide>
        <p15:guide id="13" pos="2069">
          <p15:clr>
            <a:srgbClr val="A4A3A4"/>
          </p15:clr>
        </p15:guide>
        <p15:guide id="14" pos="2098">
          <p15:clr>
            <a:srgbClr val="A4A3A4"/>
          </p15:clr>
        </p15:guide>
        <p15:guide id="15" pos="2066">
          <p15:clr>
            <a:srgbClr val="A4A3A4"/>
          </p15:clr>
        </p15:guide>
        <p15:guide id="16" pos="2094">
          <p15:clr>
            <a:srgbClr val="A4A3A4"/>
          </p15:clr>
        </p15:guide>
        <p15:guide id="17" pos="2147">
          <p15:clr>
            <a:srgbClr val="A4A3A4"/>
          </p15:clr>
        </p15:guide>
        <p15:guide id="18" pos="2114">
          <p15:clr>
            <a:srgbClr val="A4A3A4"/>
          </p15:clr>
        </p15:guide>
        <p15:guide id="19" pos="2099">
          <p15:clr>
            <a:srgbClr val="A4A3A4"/>
          </p15:clr>
        </p15:guide>
        <p15:guide id="20" pos="209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9900"/>
    <a:srgbClr val="FFFFFF"/>
    <a:srgbClr val="E9EDF4"/>
    <a:srgbClr val="EA2417"/>
    <a:srgbClr val="E42515"/>
    <a:srgbClr val="FF5050"/>
    <a:srgbClr val="FF3300"/>
    <a:srgbClr val="669900"/>
    <a:srgbClr val="33CC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48" autoAdjust="0"/>
    <p:restoredTop sz="94171" autoAdjust="0"/>
  </p:normalViewPr>
  <p:slideViewPr>
    <p:cSldViewPr snapToGrid="0">
      <p:cViewPr varScale="1">
        <p:scale>
          <a:sx n="108" d="100"/>
          <a:sy n="108" d="100"/>
        </p:scale>
        <p:origin x="654" y="102"/>
      </p:cViewPr>
      <p:guideLst>
        <p:guide orient="horz" pos="1393"/>
        <p:guide orient="horz" pos="2958"/>
        <p:guide orient="horz" pos="441"/>
        <p:guide pos="2245"/>
        <p:guide pos="3243"/>
        <p:guide pos="136"/>
        <p:guide pos="5579"/>
        <p:guide orient="horz" pos="577"/>
        <p:guide orient="horz" pos="250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3"/>
    </p:cViewPr>
  </p:sorterViewPr>
  <p:notesViewPr>
    <p:cSldViewPr snapToGrid="0" showGuides="1">
      <p:cViewPr varScale="1">
        <p:scale>
          <a:sx n="91" d="100"/>
          <a:sy n="91" d="100"/>
        </p:scale>
        <p:origin x="-3714" y="-102"/>
      </p:cViewPr>
      <p:guideLst>
        <p:guide orient="horz" pos="3104"/>
        <p:guide pos="2116"/>
        <p:guide orient="horz" pos="3131"/>
        <p:guide pos="2146"/>
        <p:guide orient="horz" pos="3100"/>
        <p:guide orient="horz" pos="3127"/>
        <p:guide pos="2113"/>
        <p:guide pos="2142"/>
        <p:guide orient="horz" pos="3056"/>
        <p:guide orient="horz" pos="3083"/>
        <p:guide orient="horz" pos="3052"/>
        <p:guide orient="horz" pos="3079"/>
        <p:guide pos="2069"/>
        <p:guide pos="2098"/>
        <p:guide pos="2066"/>
        <p:guide pos="2094"/>
        <p:guide pos="2147"/>
        <p:guide pos="2114"/>
        <p:guide pos="2099"/>
        <p:guide pos="209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3"/>
            <a:ext cx="2880084" cy="488713"/>
          </a:xfrm>
          <a:prstGeom prst="rect">
            <a:avLst/>
          </a:prstGeom>
        </p:spPr>
        <p:txBody>
          <a:bodyPr vert="horz" lIns="89161" tIns="44579" rIns="89161" bIns="44579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63648" y="3"/>
            <a:ext cx="2880084" cy="488713"/>
          </a:xfrm>
          <a:prstGeom prst="rect">
            <a:avLst/>
          </a:prstGeom>
        </p:spPr>
        <p:txBody>
          <a:bodyPr vert="horz" lIns="89161" tIns="44579" rIns="89161" bIns="44579" rtlCol="0"/>
          <a:lstStyle>
            <a:lvl1pPr algn="r">
              <a:defRPr sz="1200"/>
            </a:lvl1pPr>
          </a:lstStyle>
          <a:p>
            <a:fld id="{D408175F-A919-42B6-A794-40B09BA9DA62}" type="datetimeFigureOut">
              <a:rPr lang="ru-RU" smtClean="0"/>
              <a:pPr/>
              <a:t>07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3500" y="730250"/>
            <a:ext cx="6519863" cy="36687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161" tIns="44579" rIns="89161" bIns="4457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4997" y="4643559"/>
            <a:ext cx="5315289" cy="4398418"/>
          </a:xfrm>
          <a:prstGeom prst="rect">
            <a:avLst/>
          </a:prstGeom>
        </p:spPr>
        <p:txBody>
          <a:bodyPr vert="horz" lIns="89161" tIns="44579" rIns="89161" bIns="4457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9285557"/>
            <a:ext cx="2880084" cy="488712"/>
          </a:xfrm>
          <a:prstGeom prst="rect">
            <a:avLst/>
          </a:prstGeom>
        </p:spPr>
        <p:txBody>
          <a:bodyPr vert="horz" lIns="89161" tIns="44579" rIns="89161" bIns="44579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63648" y="9285557"/>
            <a:ext cx="2880084" cy="488712"/>
          </a:xfrm>
          <a:prstGeom prst="rect">
            <a:avLst/>
          </a:prstGeom>
        </p:spPr>
        <p:txBody>
          <a:bodyPr vert="horz" lIns="89161" tIns="44579" rIns="89161" bIns="44579" rtlCol="0" anchor="b"/>
          <a:lstStyle>
            <a:lvl1pPr algn="r">
              <a:defRPr sz="1200"/>
            </a:lvl1pPr>
          </a:lstStyle>
          <a:p>
            <a:fld id="{782C8191-72F3-4061-A418-F3165B22E2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39869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02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38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750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674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575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477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00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313" algn="l" defTabSz="91383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0232">
              <a:defRPr/>
            </a:pPr>
            <a:fld id="{782C8191-72F3-4061-A418-F3165B22E208}" type="slidenum">
              <a:rPr lang="ru-RU">
                <a:solidFill>
                  <a:prstClr val="black"/>
                </a:solidFill>
              </a:rPr>
              <a:pPr defTabSz="910232"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6958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10232">
              <a:defRPr/>
            </a:pPr>
            <a:fld id="{782C8191-72F3-4061-A418-F3165B22E208}" type="slidenum">
              <a:rPr lang="ru-RU">
                <a:solidFill>
                  <a:prstClr val="black"/>
                </a:solidFill>
              </a:rPr>
              <a:pPr defTabSz="910232"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6958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77086" y="148099"/>
            <a:ext cx="7772400" cy="521594"/>
          </a:xfrm>
          <a:prstGeom prst="rect">
            <a:avLst/>
          </a:prstGeom>
        </p:spPr>
        <p:txBody>
          <a:bodyPr lIns="91390" tIns="45695" rIns="91390" bIns="45695"/>
          <a:lstStyle>
            <a:lvl1pPr algn="l">
              <a:defRPr sz="16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8672612" y="265898"/>
            <a:ext cx="230187" cy="173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39982C0A-98ED-4428-8067-CE8BCDECADD6}" type="slidenum">
              <a:rPr lang="en-US" sz="1100" b="1" smtClean="0">
                <a:solidFill>
                  <a:srgbClr val="CD202C"/>
                </a:solidFill>
                <a:latin typeface="RussianRail G Pro Extended" pitchFamily="34" charset="-52"/>
                <a:cs typeface="Arial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sz="1400" b="1" dirty="0">
              <a:solidFill>
                <a:srgbClr val="CD202C"/>
              </a:solidFill>
              <a:latin typeface="RussianRail G Pro Extended" pitchFamily="34" charset="-52"/>
              <a:cs typeface="Arial" pitchFamily="34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/>
          </p:nvPr>
        </p:nvSpPr>
        <p:spPr>
          <a:xfrm>
            <a:off x="270456" y="1268571"/>
            <a:ext cx="8602350" cy="3425758"/>
          </a:xfrm>
          <a:prstGeom prst="rect">
            <a:avLst/>
          </a:prstGeom>
        </p:spPr>
        <p:txBody>
          <a:bodyPr lIns="91390" tIns="45695" rIns="91390" bIns="45695"/>
          <a:lstStyle>
            <a:lvl1pPr marL="0" indent="0">
              <a:buNone/>
              <a:defRPr sz="1100">
                <a:solidFill>
                  <a:schemeClr val="accent4">
                    <a:lumMod val="50000"/>
                  </a:schemeClr>
                </a:solidFill>
              </a:defRPr>
            </a:lvl1pPr>
            <a:lvl2pPr marL="456902" indent="0">
              <a:buNone/>
              <a:defRPr sz="1400">
                <a:solidFill>
                  <a:schemeClr val="tx2">
                    <a:lumMod val="50000"/>
                  </a:schemeClr>
                </a:solidFill>
              </a:defRPr>
            </a:lvl2pPr>
            <a:lvl3pPr marL="913838" indent="0">
              <a:buNone/>
              <a:defRPr sz="1200">
                <a:solidFill>
                  <a:schemeClr val="bg2">
                    <a:lumMod val="65000"/>
                  </a:schemeClr>
                </a:solidFill>
              </a:defRPr>
            </a:lvl3pPr>
            <a:lvl4pPr marL="1370750" indent="0">
              <a:buNone/>
              <a:defRPr sz="1100">
                <a:solidFill>
                  <a:schemeClr val="bg1">
                    <a:lumMod val="25000"/>
                  </a:schemeClr>
                </a:solidFill>
              </a:defRPr>
            </a:lvl4pPr>
            <a:lvl5pPr marL="1827674" indent="0">
              <a:buNone/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10" name="Straight Connector 111"/>
          <p:cNvCxnSpPr/>
          <p:nvPr userDrawn="1"/>
        </p:nvCxnSpPr>
        <p:spPr>
          <a:xfrm>
            <a:off x="446251" y="940413"/>
            <a:ext cx="8161557" cy="0"/>
          </a:xfrm>
          <a:prstGeom prst="line">
            <a:avLst/>
          </a:prstGeom>
          <a:noFill/>
          <a:ln w="19050" cap="flat" cmpd="sng" algn="ctr">
            <a:solidFill>
              <a:srgbClr val="577187"/>
            </a:solidFill>
            <a:prstDash val="solid"/>
          </a:ln>
          <a:effectLst/>
        </p:spPr>
      </p:cxnSp>
      <p:sp>
        <p:nvSpPr>
          <p:cNvPr id="18" name="Текст 17"/>
          <p:cNvSpPr>
            <a:spLocks noGrp="1"/>
          </p:cNvSpPr>
          <p:nvPr>
            <p:ph type="body" sz="quarter" idx="11" hasCustomPrompt="1"/>
          </p:nvPr>
        </p:nvSpPr>
        <p:spPr>
          <a:xfrm>
            <a:off x="1396800" y="824958"/>
            <a:ext cx="6350400" cy="216000"/>
          </a:xfrm>
          <a:prstGeom prst="rect">
            <a:avLst/>
          </a:prstGeom>
          <a:solidFill>
            <a:schemeClr val="bg2"/>
          </a:solidFill>
        </p:spPr>
        <p:txBody>
          <a:bodyPr lIns="91390" tIns="45695" rIns="91390" bIns="45695" anchor="ctr"/>
          <a:lstStyle>
            <a:lvl1pPr marL="0" indent="0" algn="ctr">
              <a:buNone/>
              <a:defRPr lang="ru-RU" sz="1400" kern="0" dirty="0">
                <a:solidFill>
                  <a:srgbClr val="577187"/>
                </a:solidFill>
                <a:latin typeface="Verdana"/>
                <a:ea typeface="+mn-ea"/>
                <a:cs typeface="+mn-cs"/>
              </a:defRPr>
            </a:lvl1pPr>
          </a:lstStyle>
          <a:p>
            <a:r>
              <a:rPr lang="ru-RU" dirty="0"/>
              <a:t>Образец подзаголовка </a:t>
            </a:r>
            <a:r>
              <a:rPr lang="en-US" dirty="0"/>
              <a:t>Verdana 14 pt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9520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9D5D22-502C-4FCB-A2B7-D9178F25C3F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262646-29BC-4DC1-9FCF-8CBBBAD1EDF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454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46" indent="0">
              <a:buNone/>
              <a:defRPr sz="2000" b="1"/>
            </a:lvl2pPr>
            <a:lvl3pPr marL="914108" indent="0">
              <a:buNone/>
              <a:defRPr sz="1800" b="1"/>
            </a:lvl3pPr>
            <a:lvl4pPr marL="1371158" indent="0">
              <a:buNone/>
              <a:defRPr sz="1600" b="1"/>
            </a:lvl4pPr>
            <a:lvl5pPr marL="1828214" indent="0">
              <a:buNone/>
              <a:defRPr sz="1600" b="1"/>
            </a:lvl5pPr>
            <a:lvl6pPr marL="2285259" indent="0">
              <a:buNone/>
              <a:defRPr sz="1600" b="1"/>
            </a:lvl6pPr>
            <a:lvl7pPr marL="2742305" indent="0">
              <a:buNone/>
              <a:defRPr sz="1600" b="1"/>
            </a:lvl7pPr>
            <a:lvl8pPr marL="3199360" indent="0">
              <a:buNone/>
              <a:defRPr sz="1600" b="1"/>
            </a:lvl8pPr>
            <a:lvl9pPr marL="3656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9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46" indent="0">
              <a:buNone/>
              <a:defRPr sz="2000" b="1"/>
            </a:lvl2pPr>
            <a:lvl3pPr marL="914108" indent="0">
              <a:buNone/>
              <a:defRPr sz="1800" b="1"/>
            </a:lvl3pPr>
            <a:lvl4pPr marL="1371158" indent="0">
              <a:buNone/>
              <a:defRPr sz="1600" b="1"/>
            </a:lvl4pPr>
            <a:lvl5pPr marL="1828214" indent="0">
              <a:buNone/>
              <a:defRPr sz="1600" b="1"/>
            </a:lvl5pPr>
            <a:lvl6pPr marL="2285259" indent="0">
              <a:buNone/>
              <a:defRPr sz="1600" b="1"/>
            </a:lvl6pPr>
            <a:lvl7pPr marL="2742305" indent="0">
              <a:buNone/>
              <a:defRPr sz="1600" b="1"/>
            </a:lvl7pPr>
            <a:lvl8pPr marL="3199360" indent="0">
              <a:buNone/>
              <a:defRPr sz="1600" b="1"/>
            </a:lvl8pPr>
            <a:lvl9pPr marL="3656411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9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68CA2-C172-4293-A720-7E55C3591330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2E611F-654C-4D54-9321-3A86E9CE04B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968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368C2-60F7-40BD-9B17-B7D0A5237E05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332C1A-0259-435B-A890-27B789473915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6443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1D0029-A094-4284-AE42-EFB117F6F40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AE941-36B2-4476-8A27-B710FA65B40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9222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97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46" indent="0">
              <a:buNone/>
              <a:defRPr sz="1200"/>
            </a:lvl2pPr>
            <a:lvl3pPr marL="914108" indent="0">
              <a:buNone/>
              <a:defRPr sz="1000"/>
            </a:lvl3pPr>
            <a:lvl4pPr marL="1371158" indent="0">
              <a:buNone/>
              <a:defRPr sz="900"/>
            </a:lvl4pPr>
            <a:lvl5pPr marL="1828214" indent="0">
              <a:buNone/>
              <a:defRPr sz="900"/>
            </a:lvl5pPr>
            <a:lvl6pPr marL="2285259" indent="0">
              <a:buNone/>
              <a:defRPr sz="900"/>
            </a:lvl6pPr>
            <a:lvl7pPr marL="2742305" indent="0">
              <a:buNone/>
              <a:defRPr sz="900"/>
            </a:lvl7pPr>
            <a:lvl8pPr marL="3199360" indent="0">
              <a:buNone/>
              <a:defRPr sz="900"/>
            </a:lvl8pPr>
            <a:lvl9pPr marL="365641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29330C-6DE0-4D82-9F09-12896B120278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B27479-2872-42FA-946D-ED7241E10D2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229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046" indent="0">
              <a:buNone/>
              <a:defRPr sz="2800"/>
            </a:lvl2pPr>
            <a:lvl3pPr marL="914108" indent="0">
              <a:buNone/>
              <a:defRPr sz="2400"/>
            </a:lvl3pPr>
            <a:lvl4pPr marL="1371158" indent="0">
              <a:buNone/>
              <a:defRPr sz="2000"/>
            </a:lvl4pPr>
            <a:lvl5pPr marL="1828214" indent="0">
              <a:buNone/>
              <a:defRPr sz="2000"/>
            </a:lvl5pPr>
            <a:lvl6pPr marL="2285259" indent="0">
              <a:buNone/>
              <a:defRPr sz="2000"/>
            </a:lvl6pPr>
            <a:lvl7pPr marL="2742305" indent="0">
              <a:buNone/>
              <a:defRPr sz="2000"/>
            </a:lvl7pPr>
            <a:lvl8pPr marL="3199360" indent="0">
              <a:buNone/>
              <a:defRPr sz="2000"/>
            </a:lvl8pPr>
            <a:lvl9pPr marL="3656411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6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46" indent="0">
              <a:buNone/>
              <a:defRPr sz="1200"/>
            </a:lvl2pPr>
            <a:lvl3pPr marL="914108" indent="0">
              <a:buNone/>
              <a:defRPr sz="1000"/>
            </a:lvl3pPr>
            <a:lvl4pPr marL="1371158" indent="0">
              <a:buNone/>
              <a:defRPr sz="900"/>
            </a:lvl4pPr>
            <a:lvl5pPr marL="1828214" indent="0">
              <a:buNone/>
              <a:defRPr sz="900"/>
            </a:lvl5pPr>
            <a:lvl6pPr marL="2285259" indent="0">
              <a:buNone/>
              <a:defRPr sz="900"/>
            </a:lvl6pPr>
            <a:lvl7pPr marL="2742305" indent="0">
              <a:buNone/>
              <a:defRPr sz="900"/>
            </a:lvl7pPr>
            <a:lvl8pPr marL="3199360" indent="0">
              <a:buNone/>
              <a:defRPr sz="900"/>
            </a:lvl8pPr>
            <a:lvl9pPr marL="3656411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D0C407-35D9-4C19-9A0B-4457C1F07DDD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8C1AF5-05CD-436A-A029-EABCB4AA6D96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1031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B0E08B-07A1-4E12-8768-F1E0ECF9F169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6DEEFD-42EC-4BE4-99E7-28F1EECBD32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9076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6D1FD2-6B18-4980-A9DE-FFA231A024E1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98D4E4-504C-4B18-B258-6DD3C59A679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875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исок, 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8689060" y="210842"/>
            <a:ext cx="361388" cy="265453"/>
          </a:xfrm>
          <a:prstGeom prst="rect">
            <a:avLst/>
          </a:prstGeom>
        </p:spPr>
        <p:txBody>
          <a:bodyPr wrap="none" lIns="91390" tIns="45695" rIns="91390" bIns="45695">
            <a:spAutoFit/>
          </a:bodyPr>
          <a:lstStyle/>
          <a:p>
            <a:fld id="{39982C0A-98ED-4428-8067-CE8BCDECADD6}" type="slidenum">
              <a:rPr lang="en-US" sz="1100" b="1" smtClean="0">
                <a:solidFill>
                  <a:srgbClr val="CD202C"/>
                </a:solidFill>
                <a:latin typeface="RussianRail G Pro Extended" pitchFamily="34" charset="-52"/>
                <a:cs typeface="Arial" pitchFamily="34" charset="0"/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5" name="Заголовок 1"/>
          <p:cNvSpPr>
            <a:spLocks noGrp="1"/>
          </p:cNvSpPr>
          <p:nvPr>
            <p:ph type="ctrTitle"/>
          </p:nvPr>
        </p:nvSpPr>
        <p:spPr>
          <a:xfrm>
            <a:off x="177086" y="148099"/>
            <a:ext cx="7772400" cy="521594"/>
          </a:xfrm>
          <a:prstGeom prst="rect">
            <a:avLst/>
          </a:prstGeom>
        </p:spPr>
        <p:txBody>
          <a:bodyPr lIns="91390" tIns="45695" rIns="91390" bIns="45695"/>
          <a:lstStyle>
            <a:lvl1pPr algn="l">
              <a:defRPr sz="1600"/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26" name="Straight Connector 111"/>
          <p:cNvCxnSpPr/>
          <p:nvPr userDrawn="1"/>
        </p:nvCxnSpPr>
        <p:spPr>
          <a:xfrm>
            <a:off x="655062" y="940413"/>
            <a:ext cx="7833887" cy="0"/>
          </a:xfrm>
          <a:prstGeom prst="line">
            <a:avLst/>
          </a:prstGeom>
          <a:noFill/>
          <a:ln w="19050" cap="flat" cmpd="sng" algn="ctr">
            <a:solidFill>
              <a:srgbClr val="577187"/>
            </a:solidFill>
            <a:prstDash val="solid"/>
          </a:ln>
          <a:effectLst/>
        </p:spPr>
      </p:cxnSp>
      <p:sp>
        <p:nvSpPr>
          <p:cNvPr id="29" name="Текст 28"/>
          <p:cNvSpPr>
            <a:spLocks noGrp="1"/>
          </p:cNvSpPr>
          <p:nvPr>
            <p:ph type="body" sz="quarter" idx="10"/>
          </p:nvPr>
        </p:nvSpPr>
        <p:spPr>
          <a:xfrm>
            <a:off x="2854800" y="831321"/>
            <a:ext cx="3434400" cy="216000"/>
          </a:xfrm>
          <a:prstGeom prst="rect">
            <a:avLst/>
          </a:prstGeom>
          <a:solidFill>
            <a:schemeClr val="bg2"/>
          </a:solidFill>
        </p:spPr>
        <p:txBody>
          <a:bodyPr lIns="91390" tIns="45695" rIns="91390" bIns="45695" anchor="ctr"/>
          <a:lstStyle>
            <a:lvl1pPr marL="0" indent="0" algn="ctr">
              <a:buNone/>
              <a:defRPr lang="ru-RU" sz="1400" kern="0" dirty="0" smtClean="0">
                <a:solidFill>
                  <a:srgbClr val="577187"/>
                </a:solidFill>
                <a:latin typeface="Verdana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0" name="Содержимое 2"/>
          <p:cNvSpPr>
            <a:spLocks noGrp="1"/>
          </p:cNvSpPr>
          <p:nvPr>
            <p:ph sz="half" idx="1"/>
          </p:nvPr>
        </p:nvSpPr>
        <p:spPr>
          <a:xfrm>
            <a:off x="257959" y="1131821"/>
            <a:ext cx="4004948" cy="3607605"/>
          </a:xfrm>
          <a:prstGeom prst="rect">
            <a:avLst/>
          </a:prstGeom>
        </p:spPr>
        <p:txBody>
          <a:bodyPr lIns="91390" tIns="45695" rIns="91390" bIns="45695"/>
          <a:lstStyle>
            <a:lvl1pPr marL="0" indent="0">
              <a:buClr>
                <a:srgbClr val="002846"/>
              </a:buClr>
              <a:buFont typeface="Wingdings" pitchFamily="2" charset="2"/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6902" indent="0">
              <a:buClr>
                <a:srgbClr val="5F7CC3"/>
              </a:buClr>
              <a:buSzPct val="80000"/>
              <a:buNone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3838" indent="0">
              <a:buClr>
                <a:srgbClr val="5F7CC3"/>
              </a:buClr>
              <a:buSzPct val="6500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0750" indent="0">
              <a:buClr>
                <a:srgbClr val="5F7CC3"/>
              </a:buClr>
              <a:buFont typeface="Wingdings" pitchFamily="2" charset="2"/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161325" indent="0">
              <a:buFont typeface="Wingdings" panose="05000000000000000000" pitchFamily="2" charset="2"/>
              <a:buNone/>
              <a:defRPr sz="10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Содержимое 2"/>
          <p:cNvSpPr>
            <a:spLocks noGrp="1"/>
          </p:cNvSpPr>
          <p:nvPr>
            <p:ph sz="half" idx="11"/>
          </p:nvPr>
        </p:nvSpPr>
        <p:spPr>
          <a:xfrm>
            <a:off x="4868596" y="1131821"/>
            <a:ext cx="4004948" cy="3607605"/>
          </a:xfrm>
          <a:prstGeom prst="rect">
            <a:avLst/>
          </a:prstGeom>
        </p:spPr>
        <p:txBody>
          <a:bodyPr lIns="91390" tIns="45695" rIns="91390" bIns="45695"/>
          <a:lstStyle>
            <a:lvl1pPr marL="0" indent="0">
              <a:buClr>
                <a:srgbClr val="002846"/>
              </a:buClr>
              <a:buFont typeface="Wingdings" pitchFamily="2" charset="2"/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6902" indent="0">
              <a:buClr>
                <a:srgbClr val="5F7CC3"/>
              </a:buClr>
              <a:buSzPct val="80000"/>
              <a:buNone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3838" indent="0">
              <a:buClr>
                <a:srgbClr val="5F7CC3"/>
              </a:buClr>
              <a:buSzPct val="6500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0750" indent="0">
              <a:buClr>
                <a:srgbClr val="5F7CC3"/>
              </a:buClr>
              <a:buFont typeface="Wingdings" pitchFamily="2" charset="2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161325" indent="0">
              <a:buFont typeface="Wingdings" panose="05000000000000000000" pitchFamily="2" charset="2"/>
              <a:buNone/>
              <a:defRPr sz="10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11136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ctrTitle"/>
          </p:nvPr>
        </p:nvSpPr>
        <p:spPr>
          <a:xfrm>
            <a:off x="177086" y="148099"/>
            <a:ext cx="7772400" cy="521594"/>
          </a:xfrm>
          <a:prstGeom prst="rect">
            <a:avLst/>
          </a:prstGeom>
        </p:spPr>
        <p:txBody>
          <a:bodyPr lIns="91390" tIns="45695" rIns="91390" bIns="45695"/>
          <a:lstStyle>
            <a:lvl1pPr algn="l">
              <a:defRPr sz="16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Рисунок 7"/>
          <p:cNvSpPr>
            <a:spLocks noGrp="1"/>
          </p:cNvSpPr>
          <p:nvPr>
            <p:ph type="pic" sz="quarter" idx="12"/>
          </p:nvPr>
        </p:nvSpPr>
        <p:spPr>
          <a:xfrm>
            <a:off x="5525062" y="1135225"/>
            <a:ext cx="3264793" cy="1767068"/>
          </a:xfrm>
          <a:prstGeom prst="rect">
            <a:avLst/>
          </a:prstGeom>
        </p:spPr>
        <p:txBody>
          <a:bodyPr lIns="91390" tIns="45695" rIns="91390" bIns="45695"/>
          <a:lstStyle>
            <a:lvl1pPr>
              <a:buClr>
                <a:srgbClr val="002846"/>
              </a:buCl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Рисунок 7"/>
          <p:cNvSpPr>
            <a:spLocks noGrp="1"/>
          </p:cNvSpPr>
          <p:nvPr>
            <p:ph type="pic" sz="quarter" idx="13"/>
          </p:nvPr>
        </p:nvSpPr>
        <p:spPr>
          <a:xfrm>
            <a:off x="5527420" y="2974874"/>
            <a:ext cx="3265200" cy="1767600"/>
          </a:xfrm>
          <a:prstGeom prst="rect">
            <a:avLst/>
          </a:prstGeom>
        </p:spPr>
        <p:txBody>
          <a:bodyPr lIns="91390" tIns="45695" rIns="91390" bIns="45695"/>
          <a:lstStyle>
            <a:lvl1pPr>
              <a:buClr>
                <a:srgbClr val="002846"/>
              </a:buClr>
              <a:defRPr sz="1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sz="half" idx="1"/>
          </p:nvPr>
        </p:nvSpPr>
        <p:spPr>
          <a:xfrm>
            <a:off x="245085" y="1130156"/>
            <a:ext cx="4822757" cy="3602829"/>
          </a:xfrm>
          <a:prstGeom prst="rect">
            <a:avLst/>
          </a:prstGeom>
        </p:spPr>
        <p:txBody>
          <a:bodyPr lIns="91390" tIns="45695" rIns="91390" bIns="45695"/>
          <a:lstStyle>
            <a:lvl1pPr marL="0" indent="0">
              <a:buClr>
                <a:srgbClr val="002846"/>
              </a:buClr>
              <a:buFont typeface="Wingdings" pitchFamily="2" charset="2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6902" indent="0">
              <a:buClr>
                <a:srgbClr val="5F7CC3"/>
              </a:buClr>
              <a:buSzPct val="80000"/>
              <a:buNone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3838" indent="0">
              <a:buClr>
                <a:srgbClr val="5F7CC3"/>
              </a:buClr>
              <a:buSzPct val="6500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0750" indent="0">
              <a:buClr>
                <a:srgbClr val="5F7CC3"/>
              </a:buClr>
              <a:buFont typeface="Wingdings" pitchFamily="2" charset="2"/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7674" indent="0">
              <a:buFont typeface="Wingdings" pitchFamily="2" charset="2"/>
              <a:buNone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676181" y="229637"/>
            <a:ext cx="361388" cy="265453"/>
          </a:xfrm>
          <a:prstGeom prst="rect">
            <a:avLst/>
          </a:prstGeom>
        </p:spPr>
        <p:txBody>
          <a:bodyPr wrap="none" lIns="91390" tIns="45695" rIns="91390" bIns="45695">
            <a:spAutoFit/>
          </a:bodyPr>
          <a:lstStyle/>
          <a:p>
            <a:fld id="{39982C0A-98ED-4428-8067-CE8BCDECADD6}" type="slidenum">
              <a:rPr lang="en-US" sz="1100" b="1" smtClean="0">
                <a:solidFill>
                  <a:srgbClr val="CD202C"/>
                </a:solidFill>
                <a:latin typeface="RussianRail G Pro Extended" pitchFamily="34" charset="-52"/>
                <a:cs typeface="Arial" pitchFamily="34" charset="0"/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8" name="Straight Connector 111"/>
          <p:cNvCxnSpPr/>
          <p:nvPr userDrawn="1"/>
        </p:nvCxnSpPr>
        <p:spPr>
          <a:xfrm>
            <a:off x="655062" y="940413"/>
            <a:ext cx="7833887" cy="0"/>
          </a:xfrm>
          <a:prstGeom prst="line">
            <a:avLst/>
          </a:prstGeom>
          <a:noFill/>
          <a:ln w="19050" cap="flat" cmpd="sng" algn="ctr">
            <a:solidFill>
              <a:srgbClr val="577187"/>
            </a:solidFill>
            <a:prstDash val="solid"/>
          </a:ln>
          <a:effectLst/>
        </p:spPr>
      </p:cxnSp>
      <p:sp>
        <p:nvSpPr>
          <p:cNvPr id="9" name="Текст 28"/>
          <p:cNvSpPr>
            <a:spLocks noGrp="1"/>
          </p:cNvSpPr>
          <p:nvPr>
            <p:ph type="body" sz="quarter" idx="10"/>
          </p:nvPr>
        </p:nvSpPr>
        <p:spPr>
          <a:xfrm>
            <a:off x="2854800" y="831321"/>
            <a:ext cx="3434400" cy="216000"/>
          </a:xfrm>
          <a:prstGeom prst="rect">
            <a:avLst/>
          </a:prstGeom>
          <a:solidFill>
            <a:schemeClr val="bg2"/>
          </a:solidFill>
        </p:spPr>
        <p:txBody>
          <a:bodyPr lIns="91390" tIns="45695" rIns="91390" bIns="45695" anchor="ctr"/>
          <a:lstStyle>
            <a:lvl1pPr marL="0" indent="0" algn="ctr">
              <a:buNone/>
              <a:defRPr lang="ru-RU" sz="1400" kern="0" dirty="0" smtClean="0">
                <a:solidFill>
                  <a:srgbClr val="577187"/>
                </a:solidFill>
                <a:latin typeface="Verdana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0590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ctrTitle"/>
          </p:nvPr>
        </p:nvSpPr>
        <p:spPr>
          <a:xfrm>
            <a:off x="177086" y="148099"/>
            <a:ext cx="7772400" cy="521594"/>
          </a:xfrm>
          <a:prstGeom prst="rect">
            <a:avLst/>
          </a:prstGeom>
        </p:spPr>
        <p:txBody>
          <a:bodyPr lIns="91390" tIns="45695" rIns="91390" bIns="45695"/>
          <a:lstStyle>
            <a:lvl1pPr algn="l">
              <a:defRPr sz="16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Рисунок 7"/>
          <p:cNvSpPr>
            <a:spLocks noGrp="1"/>
          </p:cNvSpPr>
          <p:nvPr>
            <p:ph type="pic" sz="quarter" idx="14"/>
          </p:nvPr>
        </p:nvSpPr>
        <p:spPr>
          <a:xfrm>
            <a:off x="2" y="727659"/>
            <a:ext cx="3715555" cy="4149143"/>
          </a:xfrm>
          <a:prstGeom prst="rect">
            <a:avLst/>
          </a:prstGeom>
        </p:spPr>
        <p:txBody>
          <a:bodyPr lIns="91390" tIns="45695" rIns="91390" bIns="45695"/>
          <a:lstStyle>
            <a:lvl1pPr>
              <a:buClr>
                <a:srgbClr val="002846"/>
              </a:buClr>
              <a:defRPr sz="1600"/>
            </a:lvl1pPr>
          </a:lstStyle>
          <a:p>
            <a:r>
              <a:rPr lang="ru-RU" dirty="0"/>
              <a:t>Вставка рисунка</a:t>
            </a: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8682622" y="214565"/>
            <a:ext cx="361388" cy="265453"/>
          </a:xfrm>
          <a:prstGeom prst="rect">
            <a:avLst/>
          </a:prstGeom>
        </p:spPr>
        <p:txBody>
          <a:bodyPr wrap="none" lIns="91390" tIns="45695" rIns="91390" bIns="45695">
            <a:spAutoFit/>
          </a:bodyPr>
          <a:lstStyle/>
          <a:p>
            <a:fld id="{39982C0A-98ED-4428-8067-CE8BCDECADD6}" type="slidenum">
              <a:rPr lang="en-US" sz="1100" b="1" smtClean="0">
                <a:solidFill>
                  <a:srgbClr val="CD202C"/>
                </a:solidFill>
                <a:latin typeface="RussianRail G Pro Extended" pitchFamily="34" charset="-52"/>
                <a:cs typeface="Arial" pitchFamily="34" charset="0"/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Содержимое 2"/>
          <p:cNvSpPr>
            <a:spLocks noGrp="1"/>
          </p:cNvSpPr>
          <p:nvPr>
            <p:ph sz="half" idx="1"/>
          </p:nvPr>
        </p:nvSpPr>
        <p:spPr>
          <a:xfrm>
            <a:off x="3844345" y="1119883"/>
            <a:ext cx="5029196" cy="3606662"/>
          </a:xfrm>
          <a:prstGeom prst="rect">
            <a:avLst/>
          </a:prstGeom>
        </p:spPr>
        <p:txBody>
          <a:bodyPr lIns="91390" tIns="45695" rIns="91390" bIns="45695"/>
          <a:lstStyle>
            <a:lvl1pPr marL="0" indent="0">
              <a:buClr>
                <a:srgbClr val="002846"/>
              </a:buClr>
              <a:buFont typeface="Wingdings" pitchFamily="2" charset="2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6902" indent="0">
              <a:buClr>
                <a:srgbClr val="5F7CC3"/>
              </a:buClr>
              <a:buSzPct val="80000"/>
              <a:buNone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3838" indent="0">
              <a:buClr>
                <a:srgbClr val="5F7CC3"/>
              </a:buClr>
              <a:buSzPct val="65000"/>
              <a:buNone/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0750" indent="0">
              <a:buClr>
                <a:srgbClr val="5F7CC3"/>
              </a:buClr>
              <a:buFont typeface="Wingdings" pitchFamily="2" charset="2"/>
              <a:buNone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buFont typeface="Wingdings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9" name="Straight Connector 111"/>
          <p:cNvCxnSpPr/>
          <p:nvPr userDrawn="1"/>
        </p:nvCxnSpPr>
        <p:spPr>
          <a:xfrm>
            <a:off x="4068566" y="940413"/>
            <a:ext cx="4804974" cy="0"/>
          </a:xfrm>
          <a:prstGeom prst="line">
            <a:avLst/>
          </a:prstGeom>
          <a:noFill/>
          <a:ln w="19050" cap="flat" cmpd="sng" algn="ctr">
            <a:solidFill>
              <a:srgbClr val="577187"/>
            </a:solidFill>
            <a:prstDash val="solid"/>
          </a:ln>
          <a:effectLst/>
        </p:spPr>
      </p:cxnSp>
      <p:sp>
        <p:nvSpPr>
          <p:cNvPr id="10" name="Текст 28"/>
          <p:cNvSpPr>
            <a:spLocks noGrp="1"/>
          </p:cNvSpPr>
          <p:nvPr>
            <p:ph type="body" sz="quarter" idx="10"/>
          </p:nvPr>
        </p:nvSpPr>
        <p:spPr>
          <a:xfrm>
            <a:off x="4671661" y="840908"/>
            <a:ext cx="3434400" cy="178513"/>
          </a:xfrm>
          <a:prstGeom prst="rect">
            <a:avLst/>
          </a:prstGeom>
          <a:solidFill>
            <a:schemeClr val="bg2"/>
          </a:solidFill>
        </p:spPr>
        <p:txBody>
          <a:bodyPr lIns="91390" tIns="45695" rIns="91390" bIns="45695" anchor="ctr"/>
          <a:lstStyle>
            <a:lvl1pPr marL="0" indent="0" algn="ctr">
              <a:buNone/>
              <a:defRPr lang="ru-RU" sz="1400" kern="0" dirty="0" smtClean="0">
                <a:solidFill>
                  <a:srgbClr val="577187"/>
                </a:solidFill>
                <a:latin typeface="Verdana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87769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682622" y="214565"/>
            <a:ext cx="361388" cy="265453"/>
          </a:xfrm>
          <a:prstGeom prst="rect">
            <a:avLst/>
          </a:prstGeom>
        </p:spPr>
        <p:txBody>
          <a:bodyPr wrap="none" lIns="91390" tIns="45695" rIns="91390" bIns="45695">
            <a:spAutoFit/>
          </a:bodyPr>
          <a:lstStyle/>
          <a:p>
            <a:fld id="{39982C0A-98ED-4428-8067-CE8BCDECADD6}" type="slidenum">
              <a:rPr lang="en-US" sz="1100" b="1" smtClean="0">
                <a:solidFill>
                  <a:srgbClr val="CD202C"/>
                </a:solidFill>
                <a:latin typeface="RussianRail G Pro Extended" pitchFamily="34" charset="-52"/>
                <a:cs typeface="Arial" pitchFamily="34" charset="0"/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177086" y="148099"/>
            <a:ext cx="7772400" cy="521594"/>
          </a:xfrm>
          <a:prstGeom prst="rect">
            <a:avLst/>
          </a:prstGeom>
        </p:spPr>
        <p:txBody>
          <a:bodyPr lIns="91390" tIns="45695" rIns="91390" bIns="45695"/>
          <a:lstStyle>
            <a:lvl1pPr algn="l">
              <a:defRPr sz="16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Таблица 5"/>
          <p:cNvSpPr>
            <a:spLocks noGrp="1"/>
          </p:cNvSpPr>
          <p:nvPr>
            <p:ph type="tbl" sz="quarter" idx="10"/>
          </p:nvPr>
        </p:nvSpPr>
        <p:spPr>
          <a:xfrm>
            <a:off x="446252" y="1253448"/>
            <a:ext cx="8236371" cy="3442378"/>
          </a:xfrm>
          <a:prstGeom prst="rect">
            <a:avLst/>
          </a:prstGeom>
        </p:spPr>
        <p:txBody>
          <a:bodyPr lIns="91390" tIns="45695" rIns="91390" bIns="45695"/>
          <a:lstStyle>
            <a:lvl1pPr>
              <a:defRPr sz="1200"/>
            </a:lvl1pPr>
          </a:lstStyle>
          <a:p>
            <a:endParaRPr lang="ru-RU" dirty="0"/>
          </a:p>
        </p:txBody>
      </p:sp>
      <p:cxnSp>
        <p:nvCxnSpPr>
          <p:cNvPr id="8" name="Straight Connector 111"/>
          <p:cNvCxnSpPr/>
          <p:nvPr userDrawn="1"/>
        </p:nvCxnSpPr>
        <p:spPr>
          <a:xfrm>
            <a:off x="446251" y="940413"/>
            <a:ext cx="8161557" cy="0"/>
          </a:xfrm>
          <a:prstGeom prst="line">
            <a:avLst/>
          </a:prstGeom>
          <a:noFill/>
          <a:ln w="19050" cap="flat" cmpd="sng" algn="ctr">
            <a:solidFill>
              <a:srgbClr val="577187"/>
            </a:solidFill>
            <a:prstDash val="solid"/>
          </a:ln>
          <a:effectLst/>
        </p:spPr>
      </p:cxnSp>
      <p:sp>
        <p:nvSpPr>
          <p:cNvPr id="9" name="Текст 17"/>
          <p:cNvSpPr>
            <a:spLocks noGrp="1"/>
          </p:cNvSpPr>
          <p:nvPr>
            <p:ph type="body" sz="quarter" idx="11" hasCustomPrompt="1"/>
          </p:nvPr>
        </p:nvSpPr>
        <p:spPr>
          <a:xfrm>
            <a:off x="1396800" y="824958"/>
            <a:ext cx="6350400" cy="216000"/>
          </a:xfrm>
          <a:prstGeom prst="rect">
            <a:avLst/>
          </a:prstGeom>
          <a:solidFill>
            <a:schemeClr val="bg2"/>
          </a:solidFill>
        </p:spPr>
        <p:txBody>
          <a:bodyPr lIns="91390" tIns="45695" rIns="91390" bIns="45695" anchor="ctr"/>
          <a:lstStyle>
            <a:lvl1pPr marL="0" indent="0" algn="ctr">
              <a:buNone/>
              <a:defRPr lang="ru-RU" sz="1400" kern="0" dirty="0">
                <a:solidFill>
                  <a:srgbClr val="577187"/>
                </a:solidFill>
                <a:latin typeface="Verdana"/>
                <a:ea typeface="+mn-ea"/>
                <a:cs typeface="+mn-cs"/>
              </a:defRPr>
            </a:lvl1pPr>
          </a:lstStyle>
          <a:p>
            <a:r>
              <a:rPr lang="ru-RU" dirty="0"/>
              <a:t>Образец подзаголовка </a:t>
            </a:r>
            <a:r>
              <a:rPr lang="en-US" dirty="0"/>
              <a:t>Verdana 14 pt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0005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ctrTitle"/>
          </p:nvPr>
        </p:nvSpPr>
        <p:spPr>
          <a:xfrm>
            <a:off x="177086" y="148099"/>
            <a:ext cx="7772400" cy="521594"/>
          </a:xfrm>
          <a:prstGeom prst="rect">
            <a:avLst/>
          </a:prstGeom>
        </p:spPr>
        <p:txBody>
          <a:bodyPr lIns="91390" tIns="45695" rIns="91390" bIns="45695"/>
          <a:lstStyle>
            <a:lvl1pPr algn="l">
              <a:defRPr sz="16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Text Box 10"/>
          <p:cNvSpPr txBox="1">
            <a:spLocks noChangeArrowheads="1"/>
          </p:cNvSpPr>
          <p:nvPr userDrawn="1"/>
        </p:nvSpPr>
        <p:spPr bwMode="auto">
          <a:xfrm>
            <a:off x="8672612" y="265898"/>
            <a:ext cx="230187" cy="173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fld id="{39982C0A-98ED-4428-8067-CE8BCDECADD6}" type="slidenum">
              <a:rPr lang="en-US" sz="1100" b="1" smtClean="0">
                <a:solidFill>
                  <a:srgbClr val="CD202C"/>
                </a:solidFill>
                <a:latin typeface="RussianRail G Pro Extended" pitchFamily="34" charset="-52"/>
                <a:cs typeface="Arial" pitchFamily="34" charset="0"/>
              </a:rPr>
              <a:pPr algn="r" eaLnBrk="1" hangingPunct="1">
                <a:spcBef>
                  <a:spcPct val="50000"/>
                </a:spcBef>
                <a:defRPr/>
              </a:pPr>
              <a:t>‹#›</a:t>
            </a:fld>
            <a:endParaRPr lang="en-US" sz="1400" b="1" dirty="0">
              <a:solidFill>
                <a:srgbClr val="CD202C"/>
              </a:solidFill>
              <a:latin typeface="RussianRail G Pro Extended" pitchFamily="34" charset="-52"/>
              <a:cs typeface="Arial" pitchFamily="34" charset="0"/>
            </a:endParaRPr>
          </a:p>
        </p:txBody>
      </p:sp>
      <p:cxnSp>
        <p:nvCxnSpPr>
          <p:cNvPr id="5" name="Straight Connector 111"/>
          <p:cNvCxnSpPr/>
          <p:nvPr userDrawn="1"/>
        </p:nvCxnSpPr>
        <p:spPr>
          <a:xfrm>
            <a:off x="446251" y="940413"/>
            <a:ext cx="8161557" cy="0"/>
          </a:xfrm>
          <a:prstGeom prst="line">
            <a:avLst/>
          </a:prstGeom>
          <a:noFill/>
          <a:ln w="19050" cap="flat" cmpd="sng" algn="ctr">
            <a:solidFill>
              <a:srgbClr val="577187"/>
            </a:solidFill>
            <a:prstDash val="solid"/>
          </a:ln>
          <a:effectLst/>
        </p:spPr>
      </p:cxnSp>
      <p:sp>
        <p:nvSpPr>
          <p:cNvPr id="6" name="Текст 17"/>
          <p:cNvSpPr>
            <a:spLocks noGrp="1"/>
          </p:cNvSpPr>
          <p:nvPr>
            <p:ph type="body" sz="quarter" idx="11" hasCustomPrompt="1"/>
          </p:nvPr>
        </p:nvSpPr>
        <p:spPr>
          <a:xfrm>
            <a:off x="1396800" y="824958"/>
            <a:ext cx="6350400" cy="216000"/>
          </a:xfrm>
          <a:prstGeom prst="rect">
            <a:avLst/>
          </a:prstGeom>
          <a:solidFill>
            <a:schemeClr val="bg2"/>
          </a:solidFill>
        </p:spPr>
        <p:txBody>
          <a:bodyPr lIns="91390" tIns="45695" rIns="91390" bIns="45695" anchor="ctr"/>
          <a:lstStyle>
            <a:lvl1pPr marL="0" indent="0" algn="ctr">
              <a:buNone/>
              <a:defRPr lang="ru-RU" sz="1400" kern="0" dirty="0">
                <a:solidFill>
                  <a:srgbClr val="577187"/>
                </a:solidFill>
                <a:latin typeface="Verdana"/>
                <a:ea typeface="+mn-ea"/>
                <a:cs typeface="+mn-cs"/>
              </a:defRPr>
            </a:lvl1pPr>
          </a:lstStyle>
          <a:p>
            <a:r>
              <a:rPr lang="ru-RU" dirty="0"/>
              <a:t>Образец подзаголовка </a:t>
            </a:r>
            <a:r>
              <a:rPr lang="en-US" dirty="0"/>
              <a:t>Verdana 14 pt.</a:t>
            </a:r>
            <a:endParaRPr lang="ru-RU" dirty="0"/>
          </a:p>
        </p:txBody>
      </p:sp>
      <p:sp>
        <p:nvSpPr>
          <p:cNvPr id="8" name="Диаграмма 7"/>
          <p:cNvSpPr>
            <a:spLocks noGrp="1"/>
          </p:cNvSpPr>
          <p:nvPr>
            <p:ph type="chart" sz="quarter" idx="12"/>
          </p:nvPr>
        </p:nvSpPr>
        <p:spPr>
          <a:xfrm>
            <a:off x="593891" y="1206501"/>
            <a:ext cx="7927942" cy="1620838"/>
          </a:xfrm>
          <a:prstGeom prst="rect">
            <a:avLst/>
          </a:prstGeom>
        </p:spPr>
        <p:txBody>
          <a:bodyPr lIns="91390" tIns="45695" rIns="91390" bIns="45695"/>
          <a:lstStyle>
            <a:lvl1pPr>
              <a:defRPr sz="1200"/>
            </a:lvl1pPr>
          </a:lstStyle>
          <a:p>
            <a:endParaRPr lang="ru-RU" dirty="0"/>
          </a:p>
        </p:txBody>
      </p:sp>
      <p:sp>
        <p:nvSpPr>
          <p:cNvPr id="9" name="Диаграмма 7"/>
          <p:cNvSpPr>
            <a:spLocks noGrp="1"/>
          </p:cNvSpPr>
          <p:nvPr>
            <p:ph type="chart" sz="quarter" idx="13"/>
          </p:nvPr>
        </p:nvSpPr>
        <p:spPr>
          <a:xfrm>
            <a:off x="593889" y="3007020"/>
            <a:ext cx="7927942" cy="1620838"/>
          </a:xfrm>
          <a:prstGeom prst="rect">
            <a:avLst/>
          </a:prstGeom>
        </p:spPr>
        <p:txBody>
          <a:bodyPr lIns="91390" tIns="45695" rIns="91390" bIns="45695"/>
          <a:lstStyle>
            <a:lvl1pPr>
              <a:defRPr sz="12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24460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32"/>
            <a:ext cx="7772400" cy="110251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221B5-647E-4A3B-A3C9-1FA811E5E62E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1C822C-A52E-48E9-8238-EFDF0B2F8D7D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123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9ADFD-3AE8-486A-A690-91270AA41A3B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29566B-06CB-4644-B734-D31650A48151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9911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4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1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40ECA4-41B1-4E14-8E51-8CBD2E00DD57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93A9D2-9F8D-4B16-B40D-B2C3336BBA92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1822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vmlDrawing" Target="../drawings/vmlDrawing2.v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9831AF8-BC4E-4792-870D-06694A477760}"/>
              </a:ext>
            </a:extLst>
          </p:cNvPr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94307977"/>
              </p:ext>
            </p:extLst>
          </p:nvPr>
        </p:nvGraphicFramePr>
        <p:xfrm>
          <a:off x="1589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10" imgW="103" imgH="103" progId="TCLayout.ActiveDocument.1">
                  <p:embed/>
                </p:oleObj>
              </mc:Choice>
              <mc:Fallback>
                <p:oleObj name="Слайд think-cell" r:id="rId10" imgW="103" imgH="103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9831AF8-BC4E-4792-870D-06694A477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0"/>
          <p:cNvSpPr/>
          <p:nvPr/>
        </p:nvSpPr>
        <p:spPr>
          <a:xfrm>
            <a:off x="-4585" y="-33333"/>
            <a:ext cx="9161463" cy="755651"/>
          </a:xfrm>
          <a:prstGeom prst="rect">
            <a:avLst/>
          </a:prstGeom>
          <a:solidFill>
            <a:srgbClr val="BFC5C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90" tIns="45695" rIns="91390" bIns="45695" anchor="ctr"/>
          <a:lstStyle/>
          <a:p>
            <a:pPr algn="ctr">
              <a:defRPr/>
            </a:pPr>
            <a:endParaRPr lang="en-US">
              <a:solidFill>
                <a:srgbClr val="262626"/>
              </a:solidFill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0" y="4873992"/>
            <a:ext cx="9144000" cy="263525"/>
          </a:xfrm>
          <a:prstGeom prst="rect">
            <a:avLst/>
          </a:prstGeom>
          <a:solidFill>
            <a:srgbClr val="BFC5CE"/>
          </a:solidFill>
          <a:ln>
            <a:noFill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0" tIns="45695" rIns="91390" bIns="45695"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  <a:cs typeface="Arial" pitchFamily="34" charset="0"/>
            </a:endParaRPr>
          </a:p>
        </p:txBody>
      </p:sp>
      <p:grpSp>
        <p:nvGrpSpPr>
          <p:cNvPr id="9" name="Группа 10"/>
          <p:cNvGrpSpPr>
            <a:grpSpLocks noChangeAspect="1"/>
          </p:cNvGrpSpPr>
          <p:nvPr/>
        </p:nvGrpSpPr>
        <p:grpSpPr bwMode="auto">
          <a:xfrm>
            <a:off x="8457711" y="4931480"/>
            <a:ext cx="306388" cy="136525"/>
            <a:chOff x="5385680" y="6487509"/>
            <a:chExt cx="1039813" cy="461962"/>
          </a:xfrm>
        </p:grpSpPr>
        <p:sp>
          <p:nvSpPr>
            <p:cNvPr id="10" name="Freeform 27"/>
            <p:cNvSpPr>
              <a:spLocks/>
            </p:cNvSpPr>
            <p:nvPr userDrawn="1"/>
          </p:nvSpPr>
          <p:spPr bwMode="auto">
            <a:xfrm>
              <a:off x="6046080" y="6487509"/>
              <a:ext cx="379413" cy="346075"/>
            </a:xfrm>
            <a:custGeom>
              <a:avLst/>
              <a:gdLst>
                <a:gd name="T0" fmla="*/ 2147483647 w 1195"/>
                <a:gd name="T1" fmla="*/ 2147483647 h 1091"/>
                <a:gd name="T2" fmla="*/ 2147483647 w 1195"/>
                <a:gd name="T3" fmla="*/ 2147483647 h 1091"/>
                <a:gd name="T4" fmla="*/ 2147483647 w 1195"/>
                <a:gd name="T5" fmla="*/ 2147483647 h 1091"/>
                <a:gd name="T6" fmla="*/ 2147483647 w 1195"/>
                <a:gd name="T7" fmla="*/ 2147483647 h 1091"/>
                <a:gd name="T8" fmla="*/ 2147483647 w 1195"/>
                <a:gd name="T9" fmla="*/ 2147483647 h 1091"/>
                <a:gd name="T10" fmla="*/ 2147483647 w 1195"/>
                <a:gd name="T11" fmla="*/ 2147483647 h 1091"/>
                <a:gd name="T12" fmla="*/ 2147483647 w 1195"/>
                <a:gd name="T13" fmla="*/ 2147483647 h 1091"/>
                <a:gd name="T14" fmla="*/ 2147483647 w 1195"/>
                <a:gd name="T15" fmla="*/ 2147483647 h 1091"/>
                <a:gd name="T16" fmla="*/ 2147483647 w 1195"/>
                <a:gd name="T17" fmla="*/ 2147483647 h 1091"/>
                <a:gd name="T18" fmla="*/ 2147483647 w 1195"/>
                <a:gd name="T19" fmla="*/ 2147483647 h 1091"/>
                <a:gd name="T20" fmla="*/ 2147483647 w 1195"/>
                <a:gd name="T21" fmla="*/ 2147483647 h 1091"/>
                <a:gd name="T22" fmla="*/ 2147483647 w 1195"/>
                <a:gd name="T23" fmla="*/ 2147483647 h 1091"/>
                <a:gd name="T24" fmla="*/ 2147483647 w 1195"/>
                <a:gd name="T25" fmla="*/ 2147483647 h 1091"/>
                <a:gd name="T26" fmla="*/ 2147483647 w 1195"/>
                <a:gd name="T27" fmla="*/ 2147483647 h 1091"/>
                <a:gd name="T28" fmla="*/ 2147483647 w 1195"/>
                <a:gd name="T29" fmla="*/ 2147483647 h 1091"/>
                <a:gd name="T30" fmla="*/ 2147483647 w 1195"/>
                <a:gd name="T31" fmla="*/ 2147483647 h 1091"/>
                <a:gd name="T32" fmla="*/ 2147483647 w 1195"/>
                <a:gd name="T33" fmla="*/ 2147483647 h 1091"/>
                <a:gd name="T34" fmla="*/ 2147483647 w 1195"/>
                <a:gd name="T35" fmla="*/ 2147483647 h 1091"/>
                <a:gd name="T36" fmla="*/ 2147483647 w 1195"/>
                <a:gd name="T37" fmla="*/ 2147483647 h 1091"/>
                <a:gd name="T38" fmla="*/ 2147483647 w 1195"/>
                <a:gd name="T39" fmla="*/ 2147483647 h 1091"/>
                <a:gd name="T40" fmla="*/ 2147483647 w 1195"/>
                <a:gd name="T41" fmla="*/ 2147483647 h 1091"/>
                <a:gd name="T42" fmla="*/ 2147483647 w 1195"/>
                <a:gd name="T43" fmla="*/ 2147483647 h 1091"/>
                <a:gd name="T44" fmla="*/ 2147483647 w 1195"/>
                <a:gd name="T45" fmla="*/ 2147483647 h 1091"/>
                <a:gd name="T46" fmla="*/ 2147483647 w 1195"/>
                <a:gd name="T47" fmla="*/ 2147483647 h 1091"/>
                <a:gd name="T48" fmla="*/ 2147483647 w 1195"/>
                <a:gd name="T49" fmla="*/ 2147483647 h 1091"/>
                <a:gd name="T50" fmla="*/ 2147483647 w 1195"/>
                <a:gd name="T51" fmla="*/ 2147483647 h 1091"/>
                <a:gd name="T52" fmla="*/ 2147483647 w 1195"/>
                <a:gd name="T53" fmla="*/ 2147483647 h 1091"/>
                <a:gd name="T54" fmla="*/ 2147483647 w 1195"/>
                <a:gd name="T55" fmla="*/ 2147483647 h 1091"/>
                <a:gd name="T56" fmla="*/ 2147483647 w 1195"/>
                <a:gd name="T57" fmla="*/ 2147483647 h 1091"/>
                <a:gd name="T58" fmla="*/ 2147483647 w 1195"/>
                <a:gd name="T59" fmla="*/ 2147483647 h 1091"/>
                <a:gd name="T60" fmla="*/ 2147483647 w 1195"/>
                <a:gd name="T61" fmla="*/ 2147483647 h 1091"/>
                <a:gd name="T62" fmla="*/ 2147483647 w 1195"/>
                <a:gd name="T63" fmla="*/ 2147483647 h 1091"/>
                <a:gd name="T64" fmla="*/ 2147483647 w 1195"/>
                <a:gd name="T65" fmla="*/ 2147483647 h 1091"/>
                <a:gd name="T66" fmla="*/ 2147483647 w 1195"/>
                <a:gd name="T67" fmla="*/ 2147483647 h 1091"/>
                <a:gd name="T68" fmla="*/ 2147483647 w 1195"/>
                <a:gd name="T69" fmla="*/ 2147483647 h 1091"/>
                <a:gd name="T70" fmla="*/ 2147483647 w 1195"/>
                <a:gd name="T71" fmla="*/ 2147483647 h 1091"/>
                <a:gd name="T72" fmla="*/ 2147483647 w 1195"/>
                <a:gd name="T73" fmla="*/ 2147483647 h 1091"/>
                <a:gd name="T74" fmla="*/ 2147483647 w 1195"/>
                <a:gd name="T75" fmla="*/ 2147483647 h 1091"/>
                <a:gd name="T76" fmla="*/ 2147483647 w 1195"/>
                <a:gd name="T77" fmla="*/ 2147483647 h 1091"/>
                <a:gd name="T78" fmla="*/ 2147483647 w 1195"/>
                <a:gd name="T79" fmla="*/ 2147483647 h 1091"/>
                <a:gd name="T80" fmla="*/ 2147483647 w 1195"/>
                <a:gd name="T81" fmla="*/ 2147483647 h 1091"/>
                <a:gd name="T82" fmla="*/ 2147483647 w 1195"/>
                <a:gd name="T83" fmla="*/ 2147483647 h 1091"/>
                <a:gd name="T84" fmla="*/ 2147483647 w 1195"/>
                <a:gd name="T85" fmla="*/ 2147483647 h 1091"/>
                <a:gd name="T86" fmla="*/ 2147483647 w 1195"/>
                <a:gd name="T87" fmla="*/ 2147483647 h 1091"/>
                <a:gd name="T88" fmla="*/ 2147483647 w 1195"/>
                <a:gd name="T89" fmla="*/ 2147483647 h 1091"/>
                <a:gd name="T90" fmla="*/ 2147483647 w 1195"/>
                <a:gd name="T91" fmla="*/ 0 h 1091"/>
                <a:gd name="T92" fmla="*/ 2147483647 w 1195"/>
                <a:gd name="T93" fmla="*/ 2147483647 h 1091"/>
                <a:gd name="T94" fmla="*/ 2147483647 w 1195"/>
                <a:gd name="T95" fmla="*/ 2147483647 h 1091"/>
                <a:gd name="T96" fmla="*/ 2147483647 w 1195"/>
                <a:gd name="T97" fmla="*/ 2147483647 h 1091"/>
                <a:gd name="T98" fmla="*/ 2147483647 w 1195"/>
                <a:gd name="T99" fmla="*/ 2147483647 h 109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195" h="1091">
                  <a:moveTo>
                    <a:pt x="239" y="127"/>
                  </a:moveTo>
                  <a:lnTo>
                    <a:pt x="239" y="181"/>
                  </a:lnTo>
                  <a:lnTo>
                    <a:pt x="693" y="181"/>
                  </a:lnTo>
                  <a:lnTo>
                    <a:pt x="719" y="181"/>
                  </a:lnTo>
                  <a:lnTo>
                    <a:pt x="747" y="185"/>
                  </a:lnTo>
                  <a:lnTo>
                    <a:pt x="762" y="188"/>
                  </a:lnTo>
                  <a:lnTo>
                    <a:pt x="775" y="194"/>
                  </a:lnTo>
                  <a:lnTo>
                    <a:pt x="789" y="202"/>
                  </a:lnTo>
                  <a:lnTo>
                    <a:pt x="801" y="212"/>
                  </a:lnTo>
                  <a:lnTo>
                    <a:pt x="809" y="224"/>
                  </a:lnTo>
                  <a:lnTo>
                    <a:pt x="817" y="236"/>
                  </a:lnTo>
                  <a:lnTo>
                    <a:pt x="823" y="251"/>
                  </a:lnTo>
                  <a:lnTo>
                    <a:pt x="827" y="264"/>
                  </a:lnTo>
                  <a:lnTo>
                    <a:pt x="830" y="293"/>
                  </a:lnTo>
                  <a:lnTo>
                    <a:pt x="830" y="318"/>
                  </a:lnTo>
                  <a:lnTo>
                    <a:pt x="830" y="773"/>
                  </a:lnTo>
                  <a:lnTo>
                    <a:pt x="830" y="798"/>
                  </a:lnTo>
                  <a:lnTo>
                    <a:pt x="827" y="825"/>
                  </a:lnTo>
                  <a:lnTo>
                    <a:pt x="823" y="840"/>
                  </a:lnTo>
                  <a:lnTo>
                    <a:pt x="817" y="853"/>
                  </a:lnTo>
                  <a:lnTo>
                    <a:pt x="809" y="867"/>
                  </a:lnTo>
                  <a:lnTo>
                    <a:pt x="801" y="878"/>
                  </a:lnTo>
                  <a:lnTo>
                    <a:pt x="789" y="889"/>
                  </a:lnTo>
                  <a:lnTo>
                    <a:pt x="775" y="896"/>
                  </a:lnTo>
                  <a:lnTo>
                    <a:pt x="762" y="902"/>
                  </a:lnTo>
                  <a:lnTo>
                    <a:pt x="747" y="905"/>
                  </a:lnTo>
                  <a:lnTo>
                    <a:pt x="719" y="908"/>
                  </a:lnTo>
                  <a:lnTo>
                    <a:pt x="693" y="910"/>
                  </a:lnTo>
                  <a:lnTo>
                    <a:pt x="475" y="910"/>
                  </a:lnTo>
                  <a:lnTo>
                    <a:pt x="460" y="908"/>
                  </a:lnTo>
                  <a:lnTo>
                    <a:pt x="443" y="908"/>
                  </a:lnTo>
                  <a:lnTo>
                    <a:pt x="428" y="907"/>
                  </a:lnTo>
                  <a:lnTo>
                    <a:pt x="413" y="904"/>
                  </a:lnTo>
                  <a:lnTo>
                    <a:pt x="400" y="899"/>
                  </a:lnTo>
                  <a:lnTo>
                    <a:pt x="387" y="892"/>
                  </a:lnTo>
                  <a:lnTo>
                    <a:pt x="381" y="886"/>
                  </a:lnTo>
                  <a:lnTo>
                    <a:pt x="376" y="881"/>
                  </a:lnTo>
                  <a:lnTo>
                    <a:pt x="372" y="874"/>
                  </a:lnTo>
                  <a:lnTo>
                    <a:pt x="367" y="867"/>
                  </a:lnTo>
                  <a:lnTo>
                    <a:pt x="364" y="859"/>
                  </a:lnTo>
                  <a:lnTo>
                    <a:pt x="363" y="852"/>
                  </a:lnTo>
                  <a:lnTo>
                    <a:pt x="361" y="844"/>
                  </a:lnTo>
                  <a:lnTo>
                    <a:pt x="361" y="837"/>
                  </a:lnTo>
                  <a:lnTo>
                    <a:pt x="363" y="822"/>
                  </a:lnTo>
                  <a:lnTo>
                    <a:pt x="367" y="809"/>
                  </a:lnTo>
                  <a:lnTo>
                    <a:pt x="373" y="795"/>
                  </a:lnTo>
                  <a:lnTo>
                    <a:pt x="381" y="782"/>
                  </a:lnTo>
                  <a:lnTo>
                    <a:pt x="390" y="768"/>
                  </a:lnTo>
                  <a:lnTo>
                    <a:pt x="399" y="758"/>
                  </a:lnTo>
                  <a:lnTo>
                    <a:pt x="693" y="364"/>
                  </a:lnTo>
                  <a:lnTo>
                    <a:pt x="239" y="364"/>
                  </a:lnTo>
                  <a:lnTo>
                    <a:pt x="56" y="606"/>
                  </a:lnTo>
                  <a:lnTo>
                    <a:pt x="35" y="636"/>
                  </a:lnTo>
                  <a:lnTo>
                    <a:pt x="16" y="664"/>
                  </a:lnTo>
                  <a:lnTo>
                    <a:pt x="10" y="679"/>
                  </a:lnTo>
                  <a:lnTo>
                    <a:pt x="4" y="694"/>
                  </a:lnTo>
                  <a:lnTo>
                    <a:pt x="1" y="710"/>
                  </a:lnTo>
                  <a:lnTo>
                    <a:pt x="0" y="727"/>
                  </a:lnTo>
                  <a:lnTo>
                    <a:pt x="1" y="743"/>
                  </a:lnTo>
                  <a:lnTo>
                    <a:pt x="4" y="759"/>
                  </a:lnTo>
                  <a:lnTo>
                    <a:pt x="9" y="774"/>
                  </a:lnTo>
                  <a:lnTo>
                    <a:pt x="16" y="789"/>
                  </a:lnTo>
                  <a:lnTo>
                    <a:pt x="34" y="817"/>
                  </a:lnTo>
                  <a:lnTo>
                    <a:pt x="56" y="849"/>
                  </a:lnTo>
                  <a:lnTo>
                    <a:pt x="102" y="910"/>
                  </a:lnTo>
                  <a:lnTo>
                    <a:pt x="137" y="954"/>
                  </a:lnTo>
                  <a:lnTo>
                    <a:pt x="172" y="996"/>
                  </a:lnTo>
                  <a:lnTo>
                    <a:pt x="192" y="1015"/>
                  </a:lnTo>
                  <a:lnTo>
                    <a:pt x="211" y="1033"/>
                  </a:lnTo>
                  <a:lnTo>
                    <a:pt x="232" y="1048"/>
                  </a:lnTo>
                  <a:lnTo>
                    <a:pt x="254" y="1061"/>
                  </a:lnTo>
                  <a:lnTo>
                    <a:pt x="277" y="1070"/>
                  </a:lnTo>
                  <a:lnTo>
                    <a:pt x="302" y="1078"/>
                  </a:lnTo>
                  <a:lnTo>
                    <a:pt x="327" y="1084"/>
                  </a:lnTo>
                  <a:lnTo>
                    <a:pt x="355" y="1087"/>
                  </a:lnTo>
                  <a:lnTo>
                    <a:pt x="385" y="1090"/>
                  </a:lnTo>
                  <a:lnTo>
                    <a:pt x="416" y="1091"/>
                  </a:lnTo>
                  <a:lnTo>
                    <a:pt x="449" y="1091"/>
                  </a:lnTo>
                  <a:lnTo>
                    <a:pt x="485" y="1091"/>
                  </a:lnTo>
                  <a:lnTo>
                    <a:pt x="683" y="1091"/>
                  </a:lnTo>
                  <a:lnTo>
                    <a:pt x="728" y="1091"/>
                  </a:lnTo>
                  <a:lnTo>
                    <a:pt x="777" y="1090"/>
                  </a:lnTo>
                  <a:lnTo>
                    <a:pt x="802" y="1088"/>
                  </a:lnTo>
                  <a:lnTo>
                    <a:pt x="829" y="1085"/>
                  </a:lnTo>
                  <a:lnTo>
                    <a:pt x="856" y="1081"/>
                  </a:lnTo>
                  <a:lnTo>
                    <a:pt x="882" y="1076"/>
                  </a:lnTo>
                  <a:lnTo>
                    <a:pt x="908" y="1070"/>
                  </a:lnTo>
                  <a:lnTo>
                    <a:pt x="935" y="1063"/>
                  </a:lnTo>
                  <a:lnTo>
                    <a:pt x="961" y="1054"/>
                  </a:lnTo>
                  <a:lnTo>
                    <a:pt x="987" y="1043"/>
                  </a:lnTo>
                  <a:lnTo>
                    <a:pt x="1012" y="1030"/>
                  </a:lnTo>
                  <a:lnTo>
                    <a:pt x="1036" y="1015"/>
                  </a:lnTo>
                  <a:lnTo>
                    <a:pt x="1060" y="997"/>
                  </a:lnTo>
                  <a:lnTo>
                    <a:pt x="1080" y="977"/>
                  </a:lnTo>
                  <a:lnTo>
                    <a:pt x="1101" y="956"/>
                  </a:lnTo>
                  <a:lnTo>
                    <a:pt x="1119" y="932"/>
                  </a:lnTo>
                  <a:lnTo>
                    <a:pt x="1134" y="908"/>
                  </a:lnTo>
                  <a:lnTo>
                    <a:pt x="1147" y="884"/>
                  </a:lnTo>
                  <a:lnTo>
                    <a:pt x="1158" y="861"/>
                  </a:lnTo>
                  <a:lnTo>
                    <a:pt x="1167" y="835"/>
                  </a:lnTo>
                  <a:lnTo>
                    <a:pt x="1174" y="811"/>
                  </a:lnTo>
                  <a:lnTo>
                    <a:pt x="1180" y="786"/>
                  </a:lnTo>
                  <a:lnTo>
                    <a:pt x="1185" y="764"/>
                  </a:lnTo>
                  <a:lnTo>
                    <a:pt x="1189" y="740"/>
                  </a:lnTo>
                  <a:lnTo>
                    <a:pt x="1191" y="719"/>
                  </a:lnTo>
                  <a:lnTo>
                    <a:pt x="1194" y="698"/>
                  </a:lnTo>
                  <a:lnTo>
                    <a:pt x="1195" y="663"/>
                  </a:lnTo>
                  <a:lnTo>
                    <a:pt x="1195" y="636"/>
                  </a:lnTo>
                  <a:lnTo>
                    <a:pt x="1195" y="455"/>
                  </a:lnTo>
                  <a:lnTo>
                    <a:pt x="1195" y="426"/>
                  </a:lnTo>
                  <a:lnTo>
                    <a:pt x="1194" y="391"/>
                  </a:lnTo>
                  <a:lnTo>
                    <a:pt x="1191" y="371"/>
                  </a:lnTo>
                  <a:lnTo>
                    <a:pt x="1189" y="349"/>
                  </a:lnTo>
                  <a:lnTo>
                    <a:pt x="1185" y="327"/>
                  </a:lnTo>
                  <a:lnTo>
                    <a:pt x="1180" y="303"/>
                  </a:lnTo>
                  <a:lnTo>
                    <a:pt x="1174" y="279"/>
                  </a:lnTo>
                  <a:lnTo>
                    <a:pt x="1167" y="255"/>
                  </a:lnTo>
                  <a:lnTo>
                    <a:pt x="1158" y="230"/>
                  </a:lnTo>
                  <a:lnTo>
                    <a:pt x="1147" y="206"/>
                  </a:lnTo>
                  <a:lnTo>
                    <a:pt x="1134" y="181"/>
                  </a:lnTo>
                  <a:lnTo>
                    <a:pt x="1119" y="157"/>
                  </a:lnTo>
                  <a:lnTo>
                    <a:pt x="1101" y="135"/>
                  </a:lnTo>
                  <a:lnTo>
                    <a:pt x="1080" y="113"/>
                  </a:lnTo>
                  <a:lnTo>
                    <a:pt x="1060" y="93"/>
                  </a:lnTo>
                  <a:lnTo>
                    <a:pt x="1036" y="75"/>
                  </a:lnTo>
                  <a:lnTo>
                    <a:pt x="1012" y="61"/>
                  </a:lnTo>
                  <a:lnTo>
                    <a:pt x="987" y="47"/>
                  </a:lnTo>
                  <a:lnTo>
                    <a:pt x="961" y="37"/>
                  </a:lnTo>
                  <a:lnTo>
                    <a:pt x="935" y="26"/>
                  </a:lnTo>
                  <a:lnTo>
                    <a:pt x="908" y="19"/>
                  </a:lnTo>
                  <a:lnTo>
                    <a:pt x="882" y="13"/>
                  </a:lnTo>
                  <a:lnTo>
                    <a:pt x="856" y="8"/>
                  </a:lnTo>
                  <a:lnTo>
                    <a:pt x="829" y="5"/>
                  </a:lnTo>
                  <a:lnTo>
                    <a:pt x="802" y="3"/>
                  </a:lnTo>
                  <a:lnTo>
                    <a:pt x="777" y="1"/>
                  </a:lnTo>
                  <a:lnTo>
                    <a:pt x="728" y="0"/>
                  </a:lnTo>
                  <a:lnTo>
                    <a:pt x="683" y="0"/>
                  </a:lnTo>
                  <a:lnTo>
                    <a:pt x="367" y="0"/>
                  </a:lnTo>
                  <a:lnTo>
                    <a:pt x="344" y="0"/>
                  </a:lnTo>
                  <a:lnTo>
                    <a:pt x="318" y="3"/>
                  </a:lnTo>
                  <a:lnTo>
                    <a:pt x="305" y="7"/>
                  </a:lnTo>
                  <a:lnTo>
                    <a:pt x="293" y="11"/>
                  </a:lnTo>
                  <a:lnTo>
                    <a:pt x="281" y="19"/>
                  </a:lnTo>
                  <a:lnTo>
                    <a:pt x="269" y="29"/>
                  </a:lnTo>
                  <a:lnTo>
                    <a:pt x="259" y="41"/>
                  </a:lnTo>
                  <a:lnTo>
                    <a:pt x="251" y="53"/>
                  </a:lnTo>
                  <a:lnTo>
                    <a:pt x="245" y="66"/>
                  </a:lnTo>
                  <a:lnTo>
                    <a:pt x="242" y="78"/>
                  </a:lnTo>
                  <a:lnTo>
                    <a:pt x="239" y="104"/>
                  </a:lnTo>
                  <a:lnTo>
                    <a:pt x="239" y="127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262626"/>
                </a:solidFill>
                <a:cs typeface="Arial" pitchFamily="34" charset="0"/>
              </a:endParaRPr>
            </a:p>
          </p:txBody>
        </p:sp>
        <p:sp>
          <p:nvSpPr>
            <p:cNvPr id="11" name="Freeform 28"/>
            <p:cNvSpPr>
              <a:spLocks/>
            </p:cNvSpPr>
            <p:nvPr userDrawn="1"/>
          </p:nvSpPr>
          <p:spPr bwMode="auto">
            <a:xfrm>
              <a:off x="5774618" y="6603396"/>
              <a:ext cx="319087" cy="230188"/>
            </a:xfrm>
            <a:custGeom>
              <a:avLst/>
              <a:gdLst>
                <a:gd name="T0" fmla="*/ 2147483647 w 1002"/>
                <a:gd name="T1" fmla="*/ 0 h 727"/>
                <a:gd name="T2" fmla="*/ 2147483647 w 1002"/>
                <a:gd name="T3" fmla="*/ 0 h 727"/>
                <a:gd name="T4" fmla="*/ 2147483647 w 1002"/>
                <a:gd name="T5" fmla="*/ 2147483647 h 727"/>
                <a:gd name="T6" fmla="*/ 0 w 1002"/>
                <a:gd name="T7" fmla="*/ 2147483647 h 727"/>
                <a:gd name="T8" fmla="*/ 2147483647 w 1002"/>
                <a:gd name="T9" fmla="*/ 0 h 7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02" h="727">
                  <a:moveTo>
                    <a:pt x="546" y="0"/>
                  </a:moveTo>
                  <a:lnTo>
                    <a:pt x="1002" y="0"/>
                  </a:lnTo>
                  <a:lnTo>
                    <a:pt x="456" y="727"/>
                  </a:lnTo>
                  <a:lnTo>
                    <a:pt x="0" y="727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262626"/>
                </a:solidFill>
                <a:cs typeface="Arial" pitchFamily="34" charset="0"/>
              </a:endParaRPr>
            </a:p>
          </p:txBody>
        </p:sp>
        <p:sp>
          <p:nvSpPr>
            <p:cNvPr id="12" name="Freeform 29"/>
            <p:cNvSpPr>
              <a:spLocks/>
            </p:cNvSpPr>
            <p:nvPr userDrawn="1"/>
          </p:nvSpPr>
          <p:spPr bwMode="auto">
            <a:xfrm>
              <a:off x="5385680" y="6603396"/>
              <a:ext cx="436563" cy="346075"/>
            </a:xfrm>
            <a:custGeom>
              <a:avLst/>
              <a:gdLst>
                <a:gd name="T0" fmla="*/ 0 w 1377"/>
                <a:gd name="T1" fmla="*/ 2147483647 h 1091"/>
                <a:gd name="T2" fmla="*/ 2147483647 w 1377"/>
                <a:gd name="T3" fmla="*/ 2147483647 h 1091"/>
                <a:gd name="T4" fmla="*/ 2147483647 w 1377"/>
                <a:gd name="T5" fmla="*/ 2147483647 h 1091"/>
                <a:gd name="T6" fmla="*/ 2147483647 w 1377"/>
                <a:gd name="T7" fmla="*/ 2147483647 h 1091"/>
                <a:gd name="T8" fmla="*/ 2147483647 w 1377"/>
                <a:gd name="T9" fmla="*/ 2147483647 h 1091"/>
                <a:gd name="T10" fmla="*/ 2147483647 w 1377"/>
                <a:gd name="T11" fmla="*/ 0 h 1091"/>
                <a:gd name="T12" fmla="*/ 2147483647 w 1377"/>
                <a:gd name="T13" fmla="*/ 0 h 1091"/>
                <a:gd name="T14" fmla="*/ 2147483647 w 1377"/>
                <a:gd name="T15" fmla="*/ 0 h 1091"/>
                <a:gd name="T16" fmla="*/ 2147483647 w 1377"/>
                <a:gd name="T17" fmla="*/ 2147483647 h 1091"/>
                <a:gd name="T18" fmla="*/ 2147483647 w 1377"/>
                <a:gd name="T19" fmla="*/ 2147483647 h 1091"/>
                <a:gd name="T20" fmla="*/ 2147483647 w 1377"/>
                <a:gd name="T21" fmla="*/ 2147483647 h 1091"/>
                <a:gd name="T22" fmla="*/ 2147483647 w 1377"/>
                <a:gd name="T23" fmla="*/ 2147483647 h 1091"/>
                <a:gd name="T24" fmla="*/ 2147483647 w 1377"/>
                <a:gd name="T25" fmla="*/ 2147483647 h 1091"/>
                <a:gd name="T26" fmla="*/ 2147483647 w 1377"/>
                <a:gd name="T27" fmla="*/ 2147483647 h 1091"/>
                <a:gd name="T28" fmla="*/ 2147483647 w 1377"/>
                <a:gd name="T29" fmla="*/ 2147483647 h 1091"/>
                <a:gd name="T30" fmla="*/ 2147483647 w 1377"/>
                <a:gd name="T31" fmla="*/ 2147483647 h 1091"/>
                <a:gd name="T32" fmla="*/ 2147483647 w 1377"/>
                <a:gd name="T33" fmla="*/ 2147483647 h 1091"/>
                <a:gd name="T34" fmla="*/ 2147483647 w 1377"/>
                <a:gd name="T35" fmla="*/ 2147483647 h 1091"/>
                <a:gd name="T36" fmla="*/ 2147483647 w 1377"/>
                <a:gd name="T37" fmla="*/ 2147483647 h 1091"/>
                <a:gd name="T38" fmla="*/ 2147483647 w 1377"/>
                <a:gd name="T39" fmla="*/ 2147483647 h 1091"/>
                <a:gd name="T40" fmla="*/ 2147483647 w 1377"/>
                <a:gd name="T41" fmla="*/ 2147483647 h 1091"/>
                <a:gd name="T42" fmla="*/ 2147483647 w 1377"/>
                <a:gd name="T43" fmla="*/ 2147483647 h 1091"/>
                <a:gd name="T44" fmla="*/ 2147483647 w 1377"/>
                <a:gd name="T45" fmla="*/ 2147483647 h 1091"/>
                <a:gd name="T46" fmla="*/ 2147483647 w 1377"/>
                <a:gd name="T47" fmla="*/ 2147483647 h 1091"/>
                <a:gd name="T48" fmla="*/ 2147483647 w 1377"/>
                <a:gd name="T49" fmla="*/ 2147483647 h 1091"/>
                <a:gd name="T50" fmla="*/ 2147483647 w 1377"/>
                <a:gd name="T51" fmla="*/ 2147483647 h 1091"/>
                <a:gd name="T52" fmla="*/ 2147483647 w 1377"/>
                <a:gd name="T53" fmla="*/ 2147483647 h 1091"/>
                <a:gd name="T54" fmla="*/ 2147483647 w 1377"/>
                <a:gd name="T55" fmla="*/ 2147483647 h 1091"/>
                <a:gd name="T56" fmla="*/ 2147483647 w 1377"/>
                <a:gd name="T57" fmla="*/ 2147483647 h 1091"/>
                <a:gd name="T58" fmla="*/ 2147483647 w 1377"/>
                <a:gd name="T59" fmla="*/ 2147483647 h 1091"/>
                <a:gd name="T60" fmla="*/ 2147483647 w 1377"/>
                <a:gd name="T61" fmla="*/ 2147483647 h 1091"/>
                <a:gd name="T62" fmla="*/ 2147483647 w 1377"/>
                <a:gd name="T63" fmla="*/ 2147483647 h 1091"/>
                <a:gd name="T64" fmla="*/ 2147483647 w 1377"/>
                <a:gd name="T65" fmla="*/ 2147483647 h 1091"/>
                <a:gd name="T66" fmla="*/ 2147483647 w 1377"/>
                <a:gd name="T67" fmla="*/ 2147483647 h 1091"/>
                <a:gd name="T68" fmla="*/ 0 w 1377"/>
                <a:gd name="T69" fmla="*/ 2147483647 h 109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377" h="1091">
                  <a:moveTo>
                    <a:pt x="0" y="128"/>
                  </a:moveTo>
                  <a:lnTo>
                    <a:pt x="0" y="104"/>
                  </a:lnTo>
                  <a:lnTo>
                    <a:pt x="3" y="79"/>
                  </a:lnTo>
                  <a:lnTo>
                    <a:pt x="7" y="65"/>
                  </a:lnTo>
                  <a:lnTo>
                    <a:pt x="12" y="53"/>
                  </a:lnTo>
                  <a:lnTo>
                    <a:pt x="19" y="42"/>
                  </a:lnTo>
                  <a:lnTo>
                    <a:pt x="30" y="30"/>
                  </a:lnTo>
                  <a:lnTo>
                    <a:pt x="42" y="19"/>
                  </a:lnTo>
                  <a:lnTo>
                    <a:pt x="53" y="12"/>
                  </a:lnTo>
                  <a:lnTo>
                    <a:pt x="67" y="6"/>
                  </a:lnTo>
                  <a:lnTo>
                    <a:pt x="79" y="3"/>
                  </a:lnTo>
                  <a:lnTo>
                    <a:pt x="104" y="0"/>
                  </a:lnTo>
                  <a:lnTo>
                    <a:pt x="128" y="0"/>
                  </a:lnTo>
                  <a:lnTo>
                    <a:pt x="892" y="0"/>
                  </a:lnTo>
                  <a:lnTo>
                    <a:pt x="927" y="0"/>
                  </a:lnTo>
                  <a:lnTo>
                    <a:pt x="960" y="0"/>
                  </a:lnTo>
                  <a:lnTo>
                    <a:pt x="991" y="1"/>
                  </a:lnTo>
                  <a:lnTo>
                    <a:pt x="1021" y="3"/>
                  </a:lnTo>
                  <a:lnTo>
                    <a:pt x="1048" y="6"/>
                  </a:lnTo>
                  <a:lnTo>
                    <a:pt x="1075" y="12"/>
                  </a:lnTo>
                  <a:lnTo>
                    <a:pt x="1099" y="19"/>
                  </a:lnTo>
                  <a:lnTo>
                    <a:pt x="1122" y="30"/>
                  </a:lnTo>
                  <a:lnTo>
                    <a:pt x="1145" y="42"/>
                  </a:lnTo>
                  <a:lnTo>
                    <a:pt x="1166" y="58"/>
                  </a:lnTo>
                  <a:lnTo>
                    <a:pt x="1185" y="74"/>
                  </a:lnTo>
                  <a:lnTo>
                    <a:pt x="1204" y="94"/>
                  </a:lnTo>
                  <a:lnTo>
                    <a:pt x="1240" y="137"/>
                  </a:lnTo>
                  <a:lnTo>
                    <a:pt x="1274" y="181"/>
                  </a:lnTo>
                  <a:lnTo>
                    <a:pt x="1320" y="242"/>
                  </a:lnTo>
                  <a:lnTo>
                    <a:pt x="1343" y="272"/>
                  </a:lnTo>
                  <a:lnTo>
                    <a:pt x="1361" y="302"/>
                  </a:lnTo>
                  <a:lnTo>
                    <a:pt x="1367" y="317"/>
                  </a:lnTo>
                  <a:lnTo>
                    <a:pt x="1372" y="331"/>
                  </a:lnTo>
                  <a:lnTo>
                    <a:pt x="1375" y="346"/>
                  </a:lnTo>
                  <a:lnTo>
                    <a:pt x="1377" y="363"/>
                  </a:lnTo>
                  <a:lnTo>
                    <a:pt x="1375" y="379"/>
                  </a:lnTo>
                  <a:lnTo>
                    <a:pt x="1372" y="395"/>
                  </a:lnTo>
                  <a:lnTo>
                    <a:pt x="1367" y="410"/>
                  </a:lnTo>
                  <a:lnTo>
                    <a:pt x="1359" y="425"/>
                  </a:lnTo>
                  <a:lnTo>
                    <a:pt x="1341" y="455"/>
                  </a:lnTo>
                  <a:lnTo>
                    <a:pt x="1320" y="485"/>
                  </a:lnTo>
                  <a:lnTo>
                    <a:pt x="1137" y="727"/>
                  </a:lnTo>
                  <a:lnTo>
                    <a:pt x="682" y="727"/>
                  </a:lnTo>
                  <a:lnTo>
                    <a:pt x="978" y="333"/>
                  </a:lnTo>
                  <a:lnTo>
                    <a:pt x="987" y="321"/>
                  </a:lnTo>
                  <a:lnTo>
                    <a:pt x="996" y="309"/>
                  </a:lnTo>
                  <a:lnTo>
                    <a:pt x="1003" y="296"/>
                  </a:lnTo>
                  <a:lnTo>
                    <a:pt x="1009" y="282"/>
                  </a:lnTo>
                  <a:lnTo>
                    <a:pt x="1014" y="268"/>
                  </a:lnTo>
                  <a:lnTo>
                    <a:pt x="1015" y="253"/>
                  </a:lnTo>
                  <a:lnTo>
                    <a:pt x="1015" y="245"/>
                  </a:lnTo>
                  <a:lnTo>
                    <a:pt x="1014" y="238"/>
                  </a:lnTo>
                  <a:lnTo>
                    <a:pt x="1012" y="230"/>
                  </a:lnTo>
                  <a:lnTo>
                    <a:pt x="1009" y="223"/>
                  </a:lnTo>
                  <a:lnTo>
                    <a:pt x="1005" y="216"/>
                  </a:lnTo>
                  <a:lnTo>
                    <a:pt x="1000" y="210"/>
                  </a:lnTo>
                  <a:lnTo>
                    <a:pt x="994" y="204"/>
                  </a:lnTo>
                  <a:lnTo>
                    <a:pt x="990" y="199"/>
                  </a:lnTo>
                  <a:lnTo>
                    <a:pt x="976" y="192"/>
                  </a:lnTo>
                  <a:lnTo>
                    <a:pt x="963" y="186"/>
                  </a:lnTo>
                  <a:lnTo>
                    <a:pt x="948" y="183"/>
                  </a:lnTo>
                  <a:lnTo>
                    <a:pt x="932" y="181"/>
                  </a:lnTo>
                  <a:lnTo>
                    <a:pt x="917" y="181"/>
                  </a:lnTo>
                  <a:lnTo>
                    <a:pt x="902" y="181"/>
                  </a:lnTo>
                  <a:lnTo>
                    <a:pt x="546" y="181"/>
                  </a:lnTo>
                  <a:lnTo>
                    <a:pt x="546" y="1091"/>
                  </a:lnTo>
                  <a:lnTo>
                    <a:pt x="181" y="1091"/>
                  </a:lnTo>
                  <a:lnTo>
                    <a:pt x="181" y="181"/>
                  </a:lnTo>
                  <a:lnTo>
                    <a:pt x="0" y="181"/>
                  </a:lnTo>
                  <a:lnTo>
                    <a:pt x="0" y="128"/>
                  </a:lnTo>
                  <a:close/>
                </a:path>
              </a:pathLst>
            </a:custGeom>
            <a:solidFill>
              <a:srgbClr val="E21A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262626"/>
                </a:solidFill>
                <a:cs typeface="Arial" pitchFamily="34" charset="0"/>
              </a:endParaRPr>
            </a:p>
          </p:txBody>
        </p:sp>
      </p:grpSp>
      <p:sp>
        <p:nvSpPr>
          <p:cNvPr id="13" name="Text Box 15"/>
          <p:cNvSpPr txBox="1">
            <a:spLocks noChangeArrowheads="1"/>
          </p:cNvSpPr>
          <p:nvPr/>
        </p:nvSpPr>
        <p:spPr bwMode="auto">
          <a:xfrm>
            <a:off x="6420495" y="4947555"/>
            <a:ext cx="2053759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37931725" indent="-37474525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700" b="1" dirty="0">
                <a:solidFill>
                  <a:srgbClr val="CD202C"/>
                </a:solidFill>
                <a:latin typeface="RussianRail G Pro Extended" pitchFamily="34" charset="-52"/>
                <a:ea typeface="Verdana" panose="020B0604030504040204" pitchFamily="34" charset="0"/>
                <a:cs typeface="Verdana" panose="020B0604030504040204" pitchFamily="34" charset="0"/>
              </a:rPr>
              <a:t>Федеральная пассажирская компания</a:t>
            </a:r>
            <a:endParaRPr lang="en-US" altLang="ru-RU" sz="700" b="1" dirty="0">
              <a:solidFill>
                <a:srgbClr val="CD202C"/>
              </a:solidFill>
              <a:latin typeface="RussianRail G Pro Extended" pitchFamily="34" charset="-52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52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</p:sldLayoutIdLst>
  <p:txStyles>
    <p:titleStyle>
      <a:lvl1pPr algn="ctr" defTabSz="91383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677" indent="-342677" algn="l" defTabSz="91383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499" indent="-285575" algn="l" defTabSz="91383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288" indent="-228450" algn="l" defTabSz="91383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200" indent="-228450" algn="l" defTabSz="91383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24" indent="-228450" algn="l" defTabSz="91383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25" indent="-228450" algn="l" defTabSz="91383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950" indent="-228450" algn="l" defTabSz="91383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863" indent="-228450" algn="l" defTabSz="91383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775" indent="-228450" algn="l" defTabSz="91383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2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8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50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74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75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77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00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13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6873895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17" imgW="360" imgH="360" progId="TCLayout.ActiveDocument.1">
                  <p:embed/>
                </p:oleObj>
              </mc:Choice>
              <mc:Fallback>
                <p:oleObj name="Слайд think-cell" r:id="rId17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9C79FAE3-16AA-4A5F-8925-ADFA0040698C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05978"/>
            <a:ext cx="82296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4" tIns="45707" rIns="91414" bIns="45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4" tIns="45707" rIns="91414" bIns="45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14" tIns="45707" rIns="91414" bIns="45707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D757FBE-5700-48A2-99D5-AC5DD5C1D293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7.04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14" tIns="45707" rIns="91414" bIns="45707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14" tIns="45707" rIns="91414" bIns="45707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6AC6206-CE57-422B-831E-14CF1E2D7D7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578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04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108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158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21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785" indent="-34278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15" indent="-285659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630" indent="-22852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680" indent="-22852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736" indent="-228522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781" indent="-228522" algn="l" defTabSz="9141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8" indent="-228522" algn="l" defTabSz="9141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9" indent="-228522" algn="l" defTabSz="9141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9" indent="-228522" algn="l" defTabSz="9141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46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8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4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9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5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9141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microsoft.com/office/2007/relationships/hdphoto" Target="../media/hdphoto1.wdp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microsoft.com/office/2007/relationships/hdphoto" Target="../media/hdphoto3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 txBox="1">
            <a:spLocks/>
          </p:cNvSpPr>
          <p:nvPr/>
        </p:nvSpPr>
        <p:spPr bwMode="auto">
          <a:xfrm>
            <a:off x="239946" y="77822"/>
            <a:ext cx="7449833" cy="587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2" tIns="45686" rIns="91372" bIns="45686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Схема рассадки</a:t>
            </a:r>
            <a:r>
              <a:rPr kumimoji="0" lang="ru-RU" altLang="ru-RU" sz="1400" b="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пассажиров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при соблюдении между пассажирами дистанции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239946" y="2506799"/>
            <a:ext cx="8229894" cy="939103"/>
            <a:chOff x="239946" y="3019114"/>
            <a:chExt cx="8229894" cy="939103"/>
          </a:xfrm>
        </p:grpSpPr>
        <p:sp>
          <p:nvSpPr>
            <p:cNvPr id="175" name="Заголовок 7">
              <a:extLst>
                <a:ext uri="{FF2B5EF4-FFF2-40B4-BE49-F238E27FC236}">
                  <a16:creationId xmlns:a16="http://schemas.microsoft.com/office/drawing/2014/main" id="{CFA56D32-F742-44B8-894B-9D2B470ADA6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39946" y="3084310"/>
              <a:ext cx="3409765" cy="87390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72" tIns="45686" rIns="91372" bIns="45686" anchor="ctr"/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8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33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3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lvl="0" eaLnBrk="1" hangingPunct="1">
                <a:spcBef>
                  <a:spcPct val="0"/>
                </a:spcBef>
                <a:buNone/>
                <a:defRPr/>
              </a:pPr>
              <a:r>
                <a:rPr lang="ru-RU" altLang="ru-RU" sz="1100" b="1" u="sng">
                  <a:solidFill>
                    <a:schemeClr val="accent3">
                      <a:lumMod val="50000"/>
                    </a:schemeClr>
                  </a:solidFill>
                  <a:latin typeface="Verdana" pitchFamily="34" charset="0"/>
                </a:rPr>
                <a:t>ПЛАЦКАРТНЫЙ ВАГОН</a:t>
              </a:r>
              <a:endParaRPr lang="ru-RU" altLang="ru-RU" sz="1100" b="1" u="sng" dirty="0">
                <a:solidFill>
                  <a:schemeClr val="accent3">
                    <a:lumMod val="50000"/>
                  </a:schemeClr>
                </a:solidFill>
                <a:latin typeface="Verdana" pitchFamily="34" charset="0"/>
              </a:endParaRPr>
            </a:p>
            <a:p>
              <a:pPr lvl="0" eaLnBrk="1" hangingPunct="1">
                <a:lnSpc>
                  <a:spcPts val="1100"/>
                </a:lnSpc>
                <a:spcBef>
                  <a:spcPts val="600"/>
                </a:spcBef>
                <a:buNone/>
                <a:defRPr/>
              </a:pPr>
              <a:r>
                <a:rPr lang="ru-RU" altLang="ru-RU" sz="11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Verdana" pitchFamily="34" charset="0"/>
                </a:rPr>
                <a:t>- по 2 пассажира в каждый основной блок (возможно оформить как нижнее, так и верхнее место)</a:t>
              </a:r>
            </a:p>
            <a:p>
              <a:pPr lvl="0" eaLnBrk="1" hangingPunct="1">
                <a:lnSpc>
                  <a:spcPts val="1100"/>
                </a:lnSpc>
                <a:spcBef>
                  <a:spcPts val="0"/>
                </a:spcBef>
                <a:buNone/>
                <a:defRPr/>
              </a:pPr>
              <a:r>
                <a:rPr lang="ru-RU" altLang="ru-RU" sz="11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Verdana" pitchFamily="34" charset="0"/>
                </a:rPr>
                <a:t>- по 1 пассажиру в блок боковые места</a:t>
              </a:r>
            </a:p>
            <a:p>
              <a:pPr lvl="0" eaLnBrk="1" hangingPunct="1">
                <a:lnSpc>
                  <a:spcPts val="1100"/>
                </a:lnSpc>
                <a:spcBef>
                  <a:spcPts val="0"/>
                </a:spcBef>
                <a:buNone/>
                <a:defRPr/>
              </a:pPr>
              <a:r>
                <a:rPr lang="ru-RU" altLang="ru-RU" sz="11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Verdana" pitchFamily="34" charset="0"/>
                </a:rPr>
                <a:t> (только нижнее место)</a:t>
              </a:r>
            </a:p>
            <a:p>
              <a:pPr marL="171450" lvl="0" indent="-171450" eaLnBrk="1" hangingPunct="1">
                <a:lnSpc>
                  <a:spcPts val="1100"/>
                </a:lnSpc>
                <a:spcBef>
                  <a:spcPts val="600"/>
                </a:spcBef>
                <a:buFontTx/>
                <a:buChar char="-"/>
                <a:defRPr/>
              </a:pPr>
              <a:endParaRPr lang="ru-RU" altLang="ru-RU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</a:endParaRPr>
            </a:p>
          </p:txBody>
        </p:sp>
        <p:pic>
          <p:nvPicPr>
            <p:cNvPr id="177" name="Picture 2">
              <a:extLst>
                <a:ext uri="{FF2B5EF4-FFF2-40B4-BE49-F238E27FC236}">
                  <a16:creationId xmlns:a16="http://schemas.microsoft.com/office/drawing/2014/main" id="{87E45F55-CFAA-4E2A-A3E0-6815AFACF43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50" t="22198" r="1156" b="21523"/>
            <a:stretch/>
          </p:blipFill>
          <p:spPr bwMode="auto">
            <a:xfrm>
              <a:off x="3830518" y="3019114"/>
              <a:ext cx="4639322" cy="7435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8" name="Рисунок 177">
              <a:extLst>
                <a:ext uri="{FF2B5EF4-FFF2-40B4-BE49-F238E27FC236}">
                  <a16:creationId xmlns:a16="http://schemas.microsoft.com/office/drawing/2014/main" id="{876EAF51-3D90-4A1B-8318-67D17E52A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719184" y="3589166"/>
              <a:ext cx="115138" cy="117027"/>
            </a:xfrm>
            <a:prstGeom prst="rect">
              <a:avLst/>
            </a:prstGeom>
          </p:spPr>
        </p:pic>
        <p:pic>
          <p:nvPicPr>
            <p:cNvPr id="179" name="Picture 10">
              <a:extLst>
                <a:ext uri="{FF2B5EF4-FFF2-40B4-BE49-F238E27FC236}">
                  <a16:creationId xmlns:a16="http://schemas.microsoft.com/office/drawing/2014/main" id="{FA9DC3A8-93A0-4495-A44E-29F5A4EFAF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2337" y="3206592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0" name="Picture 10">
              <a:extLst>
                <a:ext uri="{FF2B5EF4-FFF2-40B4-BE49-F238E27FC236}">
                  <a16:creationId xmlns:a16="http://schemas.microsoft.com/office/drawing/2014/main" id="{CDDD2530-D8AF-418F-B972-8120CDA3D8E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3841" y="3206592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1" name="Picture 10">
              <a:extLst>
                <a:ext uri="{FF2B5EF4-FFF2-40B4-BE49-F238E27FC236}">
                  <a16:creationId xmlns:a16="http://schemas.microsoft.com/office/drawing/2014/main" id="{B4BE6D8B-26BA-4F4D-8792-ACBB8E71EA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6284" y="3206592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2" name="Picture 10">
              <a:extLst>
                <a:ext uri="{FF2B5EF4-FFF2-40B4-BE49-F238E27FC236}">
                  <a16:creationId xmlns:a16="http://schemas.microsoft.com/office/drawing/2014/main" id="{D3F72101-A1CD-4B7B-925D-72FB2BC4D2B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9702" y="3206592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3" name="Picture 10">
              <a:extLst>
                <a:ext uri="{FF2B5EF4-FFF2-40B4-BE49-F238E27FC236}">
                  <a16:creationId xmlns:a16="http://schemas.microsoft.com/office/drawing/2014/main" id="{56EA1078-9AE8-4B8B-9405-57CE440AA1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664" y="3206592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4" name="Picture 10">
              <a:extLst>
                <a:ext uri="{FF2B5EF4-FFF2-40B4-BE49-F238E27FC236}">
                  <a16:creationId xmlns:a16="http://schemas.microsoft.com/office/drawing/2014/main" id="{56EA1078-9AE8-4B8B-9405-57CE440AA1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3514" y="3218780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5" name="Picture 10">
              <a:extLst>
                <a:ext uri="{FF2B5EF4-FFF2-40B4-BE49-F238E27FC236}">
                  <a16:creationId xmlns:a16="http://schemas.microsoft.com/office/drawing/2014/main" id="{14884754-CDD6-4BE4-8231-9E914C0DD3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41891" y="3236654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6" name="Picture 10">
              <a:extLst>
                <a:ext uri="{FF2B5EF4-FFF2-40B4-BE49-F238E27FC236}">
                  <a16:creationId xmlns:a16="http://schemas.microsoft.com/office/drawing/2014/main" id="{57B4CB54-A0E5-40BB-91B2-A5D99E5CE8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7488" y="3236654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8" name="Рисунок 187">
              <a:extLst>
                <a:ext uri="{FF2B5EF4-FFF2-40B4-BE49-F238E27FC236}">
                  <a16:creationId xmlns:a16="http://schemas.microsoft.com/office/drawing/2014/main" id="{AC936E2B-53BA-4372-9261-93A97BA3B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54962" y="3589166"/>
              <a:ext cx="115138" cy="117027"/>
            </a:xfrm>
            <a:prstGeom prst="rect">
              <a:avLst/>
            </a:prstGeom>
          </p:spPr>
        </p:pic>
        <p:pic>
          <p:nvPicPr>
            <p:cNvPr id="189" name="Рисунок 188">
              <a:extLst>
                <a:ext uri="{FF2B5EF4-FFF2-40B4-BE49-F238E27FC236}">
                  <a16:creationId xmlns:a16="http://schemas.microsoft.com/office/drawing/2014/main" id="{BC000369-48D1-4E77-8746-0CA7AE552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49105" y="3589166"/>
              <a:ext cx="115138" cy="117027"/>
            </a:xfrm>
            <a:prstGeom prst="rect">
              <a:avLst/>
            </a:prstGeom>
          </p:spPr>
        </p:pic>
        <p:pic>
          <p:nvPicPr>
            <p:cNvPr id="190" name="Рисунок 189">
              <a:extLst>
                <a:ext uri="{FF2B5EF4-FFF2-40B4-BE49-F238E27FC236}">
                  <a16:creationId xmlns:a16="http://schemas.microsoft.com/office/drawing/2014/main" id="{BC000369-48D1-4E77-8746-0CA7AE552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810823" y="3589166"/>
              <a:ext cx="115138" cy="117027"/>
            </a:xfrm>
            <a:prstGeom prst="rect">
              <a:avLst/>
            </a:prstGeom>
          </p:spPr>
        </p:pic>
        <p:pic>
          <p:nvPicPr>
            <p:cNvPr id="191" name="Рисунок 190">
              <a:extLst>
                <a:ext uri="{FF2B5EF4-FFF2-40B4-BE49-F238E27FC236}">
                  <a16:creationId xmlns:a16="http://schemas.microsoft.com/office/drawing/2014/main" id="{AC936E2B-53BA-4372-9261-93A97BA3B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75862" y="3589166"/>
              <a:ext cx="115138" cy="117027"/>
            </a:xfrm>
            <a:prstGeom prst="rect">
              <a:avLst/>
            </a:prstGeom>
          </p:spPr>
        </p:pic>
        <p:pic>
          <p:nvPicPr>
            <p:cNvPr id="192" name="Рисунок 191">
              <a:extLst>
                <a:ext uri="{FF2B5EF4-FFF2-40B4-BE49-F238E27FC236}">
                  <a16:creationId xmlns:a16="http://schemas.microsoft.com/office/drawing/2014/main" id="{AC936E2B-53BA-4372-9261-93A97BA3B66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73326" y="3589166"/>
              <a:ext cx="115138" cy="117027"/>
            </a:xfrm>
            <a:prstGeom prst="rect">
              <a:avLst/>
            </a:prstGeom>
          </p:spPr>
        </p:pic>
        <p:pic>
          <p:nvPicPr>
            <p:cNvPr id="193" name="Рисунок 192">
              <a:extLst>
                <a:ext uri="{FF2B5EF4-FFF2-40B4-BE49-F238E27FC236}">
                  <a16:creationId xmlns:a16="http://schemas.microsoft.com/office/drawing/2014/main" id="{BC000369-48D1-4E77-8746-0CA7AE552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984378" y="3589166"/>
              <a:ext cx="115138" cy="117027"/>
            </a:xfrm>
            <a:prstGeom prst="rect">
              <a:avLst/>
            </a:prstGeom>
          </p:spPr>
        </p:pic>
        <p:pic>
          <p:nvPicPr>
            <p:cNvPr id="230" name="Picture 10">
              <a:extLst>
                <a:ext uri="{FF2B5EF4-FFF2-40B4-BE49-F238E27FC236}">
                  <a16:creationId xmlns:a16="http://schemas.microsoft.com/office/drawing/2014/main" id="{57B4CB54-A0E5-40BB-91B2-A5D99E5CE8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0274" y="3292184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1" name="Picture 10">
              <a:extLst>
                <a:ext uri="{FF2B5EF4-FFF2-40B4-BE49-F238E27FC236}">
                  <a16:creationId xmlns:a16="http://schemas.microsoft.com/office/drawing/2014/main" id="{57B4CB54-A0E5-40BB-91B2-A5D99E5CE8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423" y="3292184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2" name="Picture 10">
              <a:extLst>
                <a:ext uri="{FF2B5EF4-FFF2-40B4-BE49-F238E27FC236}">
                  <a16:creationId xmlns:a16="http://schemas.microsoft.com/office/drawing/2014/main" id="{57B4CB54-A0E5-40BB-91B2-A5D99E5CE8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1928" y="3292184"/>
              <a:ext cx="197380" cy="197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Группа 5"/>
          <p:cNvGrpSpPr/>
          <p:nvPr/>
        </p:nvGrpSpPr>
        <p:grpSpPr>
          <a:xfrm>
            <a:off x="239945" y="1038971"/>
            <a:ext cx="8253656" cy="1016804"/>
            <a:chOff x="252915" y="1194611"/>
            <a:chExt cx="8253656" cy="1016804"/>
          </a:xfrm>
        </p:grpSpPr>
        <p:sp>
          <p:nvSpPr>
            <p:cNvPr id="39" name="Заголовок 7">
              <a:extLst>
                <a:ext uri="{FF2B5EF4-FFF2-40B4-BE49-F238E27FC236}">
                  <a16:creationId xmlns:a16="http://schemas.microsoft.com/office/drawing/2014/main" id="{CFA56D32-F742-44B8-894B-9D2B470ADA6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52915" y="1209075"/>
              <a:ext cx="3383297" cy="10023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372" tIns="45686" rIns="91372" bIns="45686" anchor="ctr"/>
            <a:lstStyle>
              <a:lvl1pPr eaLnBrk="0" hangingPunct="0">
                <a:spcBef>
                  <a:spcPct val="20000"/>
                </a:spcBef>
                <a:buFont typeface="Arial" charset="0"/>
                <a:buChar char="•"/>
                <a:defRPr sz="3800"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charset="0"/>
                <a:buChar char="–"/>
                <a:defRPr sz="3300"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charset="0"/>
                <a:buChar char="•"/>
                <a:defRPr sz="2800"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charset="0"/>
                <a:buChar char="–"/>
                <a:defRPr sz="2300"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 sz="23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lvl="0" eaLnBrk="1" hangingPunct="1">
                <a:spcBef>
                  <a:spcPct val="0"/>
                </a:spcBef>
                <a:buNone/>
                <a:defRPr/>
              </a:pPr>
              <a:r>
                <a:rPr lang="ru-RU" altLang="ru-RU" sz="1100" b="1" u="sng" dirty="0">
                  <a:solidFill>
                    <a:schemeClr val="accent3">
                      <a:lumMod val="50000"/>
                    </a:schemeClr>
                  </a:solidFill>
                  <a:latin typeface="Verdana" pitchFamily="34" charset="0"/>
                </a:rPr>
                <a:t>КУПЕЙНЫЙ ВАГОН И ВАГОН СВ</a:t>
              </a:r>
            </a:p>
            <a:p>
              <a:pPr marL="0" marR="0" lvl="0" indent="0" defTabSz="914400" rtl="0" eaLnBrk="1" fontAlgn="base" latinLnBrk="0" hangingPunct="1">
                <a:lnSpc>
                  <a:spcPts val="1100"/>
                </a:lnSpc>
                <a:spcBef>
                  <a:spcPts val="600"/>
                </a:spcBef>
                <a:spcAft>
                  <a:spcPct val="0"/>
                </a:spcAft>
                <a:buClrTx/>
                <a:buSzTx/>
                <a:buFont typeface="Arial" charset="0"/>
                <a:buNone/>
                <a:tabLst/>
                <a:defRPr/>
              </a:pPr>
              <a:r>
                <a:rPr kumimoji="0" lang="ru-RU" altLang="ru-RU" sz="1100" i="1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- по 2 пассажира в каждое купе (</a:t>
              </a:r>
              <a:r>
                <a:rPr lang="ru-RU" altLang="ru-RU" sz="11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Verdana" pitchFamily="34" charset="0"/>
                </a:rPr>
                <a:t>возможно оформить как нижнее, так и верхнее место)</a:t>
              </a:r>
              <a:r>
                <a:rPr kumimoji="0" lang="ru-RU" altLang="ru-RU" sz="1100" i="1" u="none" strike="noStrike" kern="1200" cap="none" spc="0" normalizeH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rPr>
                <a:t> </a:t>
              </a:r>
            </a:p>
            <a:p>
              <a:pPr marR="0" lvl="0" defTabSz="914400" rtl="0" eaLnBrk="1" fontAlgn="base" latinLnBrk="0" hangingPunct="1">
                <a:lnSpc>
                  <a:spcPts val="11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None/>
                <a:tabLst/>
                <a:defRPr/>
              </a:pPr>
              <a:r>
                <a:rPr lang="ru-RU" altLang="ru-RU" sz="1100" i="1" noProof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Verdana" pitchFamily="34" charset="0"/>
                </a:rPr>
                <a:t>- в СВ оформление установленным порядком</a:t>
              </a:r>
              <a:endParaRPr kumimoji="0" lang="ru-RU" altLang="ru-RU" sz="1100" i="1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2D96CD17-283B-43F2-A88A-8B749AAFEAC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171" b="18498"/>
            <a:stretch/>
          </p:blipFill>
          <p:spPr bwMode="auto">
            <a:xfrm>
              <a:off x="3749778" y="1194611"/>
              <a:ext cx="4756793" cy="78650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10">
              <a:extLst>
                <a:ext uri="{FF2B5EF4-FFF2-40B4-BE49-F238E27FC236}">
                  <a16:creationId xmlns:a16="http://schemas.microsoft.com/office/drawing/2014/main" id="{9B65F62A-ACF7-4DFF-B145-14F420250E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788" y="1390486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0">
              <a:extLst>
                <a:ext uri="{FF2B5EF4-FFF2-40B4-BE49-F238E27FC236}">
                  <a16:creationId xmlns:a16="http://schemas.microsoft.com/office/drawing/2014/main" id="{309CA778-C6B7-4D50-9E3E-064C771346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65482" y="1429396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10">
              <a:extLst>
                <a:ext uri="{FF2B5EF4-FFF2-40B4-BE49-F238E27FC236}">
                  <a16:creationId xmlns:a16="http://schemas.microsoft.com/office/drawing/2014/main" id="{5A61C279-44AF-4DD3-9D3A-89496FD0CB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3908" y="1406893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10">
              <a:extLst>
                <a:ext uri="{FF2B5EF4-FFF2-40B4-BE49-F238E27FC236}">
                  <a16:creationId xmlns:a16="http://schemas.microsoft.com/office/drawing/2014/main" id="{23924778-5577-4915-AEC9-EAA46FA3E6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4667" y="1419912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10">
              <a:extLst>
                <a:ext uri="{FF2B5EF4-FFF2-40B4-BE49-F238E27FC236}">
                  <a16:creationId xmlns:a16="http://schemas.microsoft.com/office/drawing/2014/main" id="{8E65F6DE-0F00-4E99-B3C5-A4F8D91991C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26333" y="1419912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10">
              <a:extLst>
                <a:ext uri="{FF2B5EF4-FFF2-40B4-BE49-F238E27FC236}">
                  <a16:creationId xmlns:a16="http://schemas.microsoft.com/office/drawing/2014/main" id="{00CD0E9C-582B-4704-AD4B-E63689EE1B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86185" y="1429396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1" name="Picture 10">
              <a:extLst>
                <a:ext uri="{FF2B5EF4-FFF2-40B4-BE49-F238E27FC236}">
                  <a16:creationId xmlns:a16="http://schemas.microsoft.com/office/drawing/2014/main" id="{5A61C279-44AF-4DD3-9D3A-89496FD0CB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81146" y="1402393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10">
              <a:extLst>
                <a:ext uri="{FF2B5EF4-FFF2-40B4-BE49-F238E27FC236}">
                  <a16:creationId xmlns:a16="http://schemas.microsoft.com/office/drawing/2014/main" id="{23924778-5577-4915-AEC9-EAA46FA3E68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3149" y="1424469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10">
              <a:extLst>
                <a:ext uri="{FF2B5EF4-FFF2-40B4-BE49-F238E27FC236}">
                  <a16:creationId xmlns:a16="http://schemas.microsoft.com/office/drawing/2014/main" id="{9B65F62A-ACF7-4DFF-B145-14F420250E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7953" y="1390486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Picture 10">
              <a:extLst>
                <a:ext uri="{FF2B5EF4-FFF2-40B4-BE49-F238E27FC236}">
                  <a16:creationId xmlns:a16="http://schemas.microsoft.com/office/drawing/2014/main" id="{309CA778-C6B7-4D50-9E3E-064C771346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0647" y="1429396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5" name="Picture 10">
              <a:extLst>
                <a:ext uri="{FF2B5EF4-FFF2-40B4-BE49-F238E27FC236}">
                  <a16:creationId xmlns:a16="http://schemas.microsoft.com/office/drawing/2014/main" id="{9B65F62A-ACF7-4DFF-B145-14F420250E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6411" y="1390486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6" name="Picture 10">
              <a:extLst>
                <a:ext uri="{FF2B5EF4-FFF2-40B4-BE49-F238E27FC236}">
                  <a16:creationId xmlns:a16="http://schemas.microsoft.com/office/drawing/2014/main" id="{309CA778-C6B7-4D50-9E3E-064C771346C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49105" y="1429396"/>
              <a:ext cx="198906" cy="1989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0" name="Прямоугольник 89"/>
          <p:cNvSpPr/>
          <p:nvPr/>
        </p:nvSpPr>
        <p:spPr>
          <a:xfrm>
            <a:off x="2414234" y="3631096"/>
            <a:ext cx="4725037" cy="738664"/>
          </a:xfrm>
          <a:prstGeom prst="rect">
            <a:avLst/>
          </a:prstGeom>
          <a:ln>
            <a:noFill/>
            <a:prstDash val="sysDot"/>
          </a:ln>
        </p:spPr>
        <p:txBody>
          <a:bodyPr wrap="square">
            <a:spAutoFit/>
          </a:bodyPr>
          <a:lstStyle/>
          <a:p>
            <a:pPr>
              <a:lnSpc>
                <a:spcPts val="1200"/>
              </a:lnSpc>
              <a:spcBef>
                <a:spcPts val="600"/>
              </a:spcBef>
            </a:pPr>
            <a:r>
              <a:rPr lang="ru-RU" sz="1000" i="1" dirty="0">
                <a:solidFill>
                  <a:schemeClr val="accent3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случае покупки в 1 заказе более 2, но до 4 билетов по желанию покупателя все места могут быть оформлены в одном купе или основном блоке сверх ограничения в 2 пассажира</a:t>
            </a:r>
          </a:p>
          <a:p>
            <a:endParaRPr lang="ru-RU" sz="1200" i="1" dirty="0">
              <a:solidFill>
                <a:schemeClr val="accent3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12789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 txBox="1">
            <a:spLocks/>
          </p:cNvSpPr>
          <p:nvPr/>
        </p:nvSpPr>
        <p:spPr bwMode="auto">
          <a:xfrm>
            <a:off x="252915" y="77822"/>
            <a:ext cx="7449833" cy="587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2" tIns="45686" rIns="91372" bIns="45686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Схема рассадки</a:t>
            </a:r>
            <a:r>
              <a:rPr kumimoji="0" lang="ru-RU" altLang="ru-RU" sz="1400" b="0" i="0" u="none" strike="noStrike" kern="1200" cap="none" spc="0" normalizeH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 пассажиров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Verdana" pitchFamily="34" charset="0"/>
                <a:ea typeface="+mn-ea"/>
                <a:cs typeface="Arial" charset="0"/>
              </a:rPr>
              <a:t>при соблюдении между пассажирами дистанции</a:t>
            </a:r>
          </a:p>
        </p:txBody>
      </p:sp>
      <p:sp>
        <p:nvSpPr>
          <p:cNvPr id="196" name="Заголовок 7">
            <a:extLst>
              <a:ext uri="{FF2B5EF4-FFF2-40B4-BE49-F238E27FC236}">
                <a16:creationId xmlns:a16="http://schemas.microsoft.com/office/drawing/2014/main" id="{CFA56D32-F742-44B8-894B-9D2B470ADA67}"/>
              </a:ext>
            </a:extLst>
          </p:cNvPr>
          <p:cNvSpPr txBox="1">
            <a:spLocks/>
          </p:cNvSpPr>
          <p:nvPr/>
        </p:nvSpPr>
        <p:spPr bwMode="auto">
          <a:xfrm>
            <a:off x="228646" y="940020"/>
            <a:ext cx="3284706" cy="822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72" tIns="45686" rIns="91372" bIns="45686" anchor="ctr"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33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3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3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lvl="0" eaLnBrk="1" hangingPunct="1">
              <a:spcBef>
                <a:spcPct val="0"/>
              </a:spcBef>
              <a:buNone/>
              <a:defRPr/>
            </a:pPr>
            <a:r>
              <a:rPr lang="ru-RU" altLang="ru-RU" sz="1100" b="1" u="sng" dirty="0">
                <a:solidFill>
                  <a:schemeClr val="accent3">
                    <a:lumMod val="50000"/>
                  </a:schemeClr>
                </a:solidFill>
                <a:latin typeface="Verdana" pitchFamily="34" charset="0"/>
              </a:rPr>
              <a:t>ВАГОНЫ С МЕСТАМИ ДЛЯ СИДЕНИЯ</a:t>
            </a:r>
          </a:p>
          <a:p>
            <a:pPr lvl="0" eaLnBrk="1" hangingPunct="1">
              <a:lnSpc>
                <a:spcPts val="1100"/>
              </a:lnSpc>
              <a:spcBef>
                <a:spcPts val="1800"/>
              </a:spcBef>
              <a:buNone/>
              <a:defRPr/>
            </a:pPr>
            <a:r>
              <a:rPr lang="ru-RU" altLang="ru-RU" sz="1100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</a:rPr>
              <a:t>если в ряду 2 места</a:t>
            </a:r>
          </a:p>
          <a:p>
            <a:pPr lvl="0" eaLnBrk="1" hangingPunct="1">
              <a:lnSpc>
                <a:spcPts val="1100"/>
              </a:lnSpc>
              <a:spcBef>
                <a:spcPts val="600"/>
              </a:spcBef>
              <a:buNone/>
              <a:defRPr/>
            </a:pPr>
            <a:r>
              <a:rPr lang="ru-RU" altLang="ru-RU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</a:rPr>
              <a:t>по 1 пассажиру на каждый ряд на место у окна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3729171" y="1311577"/>
            <a:ext cx="4902740" cy="667916"/>
            <a:chOff x="3729171" y="1207817"/>
            <a:chExt cx="4902740" cy="667916"/>
          </a:xfrm>
        </p:grpSpPr>
        <p:pic>
          <p:nvPicPr>
            <p:cNvPr id="197" name="Picture 2">
              <a:extLst>
                <a:ext uri="{FF2B5EF4-FFF2-40B4-BE49-F238E27FC236}">
                  <a16:creationId xmlns:a16="http://schemas.microsoft.com/office/drawing/2014/main" id="{F712CB35-167A-4FDF-8512-59B648F15D1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colorTemperature colorTemp="112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463" b="21836"/>
            <a:stretch/>
          </p:blipFill>
          <p:spPr bwMode="auto">
            <a:xfrm>
              <a:off x="3729171" y="1220787"/>
              <a:ext cx="4902740" cy="654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Группа 1"/>
            <p:cNvGrpSpPr/>
            <p:nvPr/>
          </p:nvGrpSpPr>
          <p:grpSpPr>
            <a:xfrm>
              <a:off x="4789752" y="1207817"/>
              <a:ext cx="3228530" cy="616979"/>
              <a:chOff x="4752134" y="1082149"/>
              <a:chExt cx="3228530" cy="616979"/>
            </a:xfrm>
          </p:grpSpPr>
          <p:pic>
            <p:nvPicPr>
              <p:cNvPr id="200" name="Рисунок 199">
                <a:extLst>
                  <a:ext uri="{FF2B5EF4-FFF2-40B4-BE49-F238E27FC236}">
                    <a16:creationId xmlns:a16="http://schemas.microsoft.com/office/drawing/2014/main" id="{E67EDD47-BF6D-4150-8DE5-6E25D4A842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325198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02" name="Рисунок 201">
                <a:extLst>
                  <a:ext uri="{FF2B5EF4-FFF2-40B4-BE49-F238E27FC236}">
                    <a16:creationId xmlns:a16="http://schemas.microsoft.com/office/drawing/2014/main" id="{57588FDE-1D3B-4819-89B7-7AAA6D9CD4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687321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06" name="Рисунок 205">
                <a:extLst>
                  <a:ext uri="{FF2B5EF4-FFF2-40B4-BE49-F238E27FC236}">
                    <a16:creationId xmlns:a16="http://schemas.microsoft.com/office/drawing/2014/main" id="{DA13A3F8-7C21-439C-8C72-3B0446A6FA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615368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07" name="Рисунок 206">
                <a:extLst>
                  <a:ext uri="{FF2B5EF4-FFF2-40B4-BE49-F238E27FC236}">
                    <a16:creationId xmlns:a16="http://schemas.microsoft.com/office/drawing/2014/main" id="{6461EFE0-6AA0-48FB-85A5-9A03F8F64C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925002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09" name="Рисунок 208">
                <a:extLst>
                  <a:ext uri="{FF2B5EF4-FFF2-40B4-BE49-F238E27FC236}">
                    <a16:creationId xmlns:a16="http://schemas.microsoft.com/office/drawing/2014/main" id="{C75F78D6-ECC7-4D42-95FD-650384BC5E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064933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10" name="Рисунок 209">
                <a:extLst>
                  <a:ext uri="{FF2B5EF4-FFF2-40B4-BE49-F238E27FC236}">
                    <a16:creationId xmlns:a16="http://schemas.microsoft.com/office/drawing/2014/main" id="{06B3052B-2577-49C9-BD77-AAC09D4E55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470661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12" name="Рисунок 211">
                <a:extLst>
                  <a:ext uri="{FF2B5EF4-FFF2-40B4-BE49-F238E27FC236}">
                    <a16:creationId xmlns:a16="http://schemas.microsoft.com/office/drawing/2014/main" id="{80BB56FA-7C80-4C4D-9884-B8C642C23B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867605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13" name="Рисунок 212">
                <a:extLst>
                  <a:ext uri="{FF2B5EF4-FFF2-40B4-BE49-F238E27FC236}">
                    <a16:creationId xmlns:a16="http://schemas.microsoft.com/office/drawing/2014/main" id="{6BC12E27-7137-4049-B4E7-F275752598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241487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14" name="Рисунок 213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818871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16" name="Рисунок 215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774829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18" name="Рисунок 217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131729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21" name="Рисунок 220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505043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24" name="Рисунок 223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73350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26" name="Рисунок 225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284922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27" name="Рисунок 226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674335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28" name="Рисунок 227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038133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29" name="Рисунок 228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437054" y="155230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34" name="Рисунок 233">
                <a:extLst>
                  <a:ext uri="{FF2B5EF4-FFF2-40B4-BE49-F238E27FC236}">
                    <a16:creationId xmlns:a16="http://schemas.microsoft.com/office/drawing/2014/main" id="{E67EDD47-BF6D-4150-8DE5-6E25D4A842E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302503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35" name="Рисунок 234">
                <a:extLst>
                  <a:ext uri="{FF2B5EF4-FFF2-40B4-BE49-F238E27FC236}">
                    <a16:creationId xmlns:a16="http://schemas.microsoft.com/office/drawing/2014/main" id="{57588FDE-1D3B-4819-89B7-7AAA6D9CD4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664626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36" name="Рисунок 235">
                <a:extLst>
                  <a:ext uri="{FF2B5EF4-FFF2-40B4-BE49-F238E27FC236}">
                    <a16:creationId xmlns:a16="http://schemas.microsoft.com/office/drawing/2014/main" id="{DA13A3F8-7C21-439C-8C72-3B0446A6FA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592673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37" name="Рисунок 236">
                <a:extLst>
                  <a:ext uri="{FF2B5EF4-FFF2-40B4-BE49-F238E27FC236}">
                    <a16:creationId xmlns:a16="http://schemas.microsoft.com/office/drawing/2014/main" id="{6461EFE0-6AA0-48FB-85A5-9A03F8F64C9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902307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38" name="Рисунок 237">
                <a:extLst>
                  <a:ext uri="{FF2B5EF4-FFF2-40B4-BE49-F238E27FC236}">
                    <a16:creationId xmlns:a16="http://schemas.microsoft.com/office/drawing/2014/main" id="{C75F78D6-ECC7-4D42-95FD-650384BC5E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042238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39" name="Рисунок 238">
                <a:extLst>
                  <a:ext uri="{FF2B5EF4-FFF2-40B4-BE49-F238E27FC236}">
                    <a16:creationId xmlns:a16="http://schemas.microsoft.com/office/drawing/2014/main" id="{06B3052B-2577-49C9-BD77-AAC09D4E55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447966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0" name="Рисунок 239">
                <a:extLst>
                  <a:ext uri="{FF2B5EF4-FFF2-40B4-BE49-F238E27FC236}">
                    <a16:creationId xmlns:a16="http://schemas.microsoft.com/office/drawing/2014/main" id="{80BB56FA-7C80-4C4D-9884-B8C642C23B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844910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1" name="Рисунок 240">
                <a:extLst>
                  <a:ext uri="{FF2B5EF4-FFF2-40B4-BE49-F238E27FC236}">
                    <a16:creationId xmlns:a16="http://schemas.microsoft.com/office/drawing/2014/main" id="{6BC12E27-7137-4049-B4E7-F275752598D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218792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2" name="Рисунок 241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796176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3" name="Рисунок 242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4752134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4" name="Рисунок 243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109034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5" name="Рисунок 244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482348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6" name="Рисунок 245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50655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7" name="Рисунок 246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262227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8" name="Рисунок 247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6651640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49" name="Рисунок 248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015438" y="1082149"/>
                <a:ext cx="161793" cy="146819"/>
              </a:xfrm>
              <a:prstGeom prst="rect">
                <a:avLst/>
              </a:prstGeom>
            </p:spPr>
          </p:pic>
          <p:pic>
            <p:nvPicPr>
              <p:cNvPr id="250" name="Рисунок 249">
                <a:extLst>
                  <a:ext uri="{FF2B5EF4-FFF2-40B4-BE49-F238E27FC236}">
                    <a16:creationId xmlns:a16="http://schemas.microsoft.com/office/drawing/2014/main" id="{4848CBAC-3E1C-4BB2-B191-0B04152F69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7414359" y="1082149"/>
                <a:ext cx="161793" cy="146819"/>
              </a:xfrm>
              <a:prstGeom prst="rect">
                <a:avLst/>
              </a:prstGeom>
            </p:spPr>
          </p:pic>
        </p:grpSp>
      </p:grpSp>
      <p:grpSp>
        <p:nvGrpSpPr>
          <p:cNvPr id="3" name="Группа 2"/>
          <p:cNvGrpSpPr/>
          <p:nvPr/>
        </p:nvGrpSpPr>
        <p:grpSpPr>
          <a:xfrm>
            <a:off x="3770156" y="2275949"/>
            <a:ext cx="5081191" cy="907374"/>
            <a:chOff x="3770156" y="2275949"/>
            <a:chExt cx="5081191" cy="907374"/>
          </a:xfrm>
        </p:grpSpPr>
        <p:pic>
          <p:nvPicPr>
            <p:cNvPr id="82" name="Picture 2"/>
            <p:cNvPicPr>
              <a:picLocks noChangeAspect="1" noChangeArrowheads="1"/>
            </p:cNvPicPr>
            <p:nvPr/>
          </p:nvPicPr>
          <p:blipFill rotWithShape="1"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85" t="37521" r="16713" b="39670"/>
            <a:stretch/>
          </p:blipFill>
          <p:spPr bwMode="auto">
            <a:xfrm>
              <a:off x="3770156" y="2275949"/>
              <a:ext cx="5081191" cy="907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1" name="Рисунок 100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18983" y="2358011"/>
              <a:ext cx="144000" cy="130672"/>
            </a:xfrm>
            <a:prstGeom prst="rect">
              <a:avLst/>
            </a:prstGeom>
          </p:spPr>
        </p:pic>
        <p:pic>
          <p:nvPicPr>
            <p:cNvPr id="104" name="Рисунок 103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79620" y="2358011"/>
              <a:ext cx="144000" cy="130672"/>
            </a:xfrm>
            <a:prstGeom prst="rect">
              <a:avLst/>
            </a:prstGeom>
          </p:spPr>
        </p:pic>
        <p:pic>
          <p:nvPicPr>
            <p:cNvPr id="110" name="Рисунок 109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897022" y="2358011"/>
              <a:ext cx="144000" cy="130672"/>
            </a:xfrm>
            <a:prstGeom prst="rect">
              <a:avLst/>
            </a:prstGeom>
          </p:spPr>
        </p:pic>
        <p:pic>
          <p:nvPicPr>
            <p:cNvPr id="111" name="Рисунок 110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47437" y="2358011"/>
              <a:ext cx="144000" cy="130672"/>
            </a:xfrm>
            <a:prstGeom prst="rect">
              <a:avLst/>
            </a:prstGeom>
          </p:spPr>
        </p:pic>
        <p:pic>
          <p:nvPicPr>
            <p:cNvPr id="112" name="Рисунок 111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75356" y="2358011"/>
              <a:ext cx="144000" cy="130672"/>
            </a:xfrm>
            <a:prstGeom prst="rect">
              <a:avLst/>
            </a:prstGeom>
          </p:spPr>
        </p:pic>
        <p:pic>
          <p:nvPicPr>
            <p:cNvPr id="119" name="Рисунок 118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75280" y="2358011"/>
              <a:ext cx="144000" cy="130672"/>
            </a:xfrm>
            <a:prstGeom prst="rect">
              <a:avLst/>
            </a:prstGeom>
          </p:spPr>
        </p:pic>
        <p:pic>
          <p:nvPicPr>
            <p:cNvPr id="120" name="Рисунок 119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835917" y="2358011"/>
              <a:ext cx="144000" cy="130672"/>
            </a:xfrm>
            <a:prstGeom prst="rect">
              <a:avLst/>
            </a:prstGeom>
          </p:spPr>
        </p:pic>
        <p:pic>
          <p:nvPicPr>
            <p:cNvPr id="121" name="Рисунок 120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653319" y="2358011"/>
              <a:ext cx="144000" cy="130672"/>
            </a:xfrm>
            <a:prstGeom prst="rect">
              <a:avLst/>
            </a:prstGeom>
          </p:spPr>
        </p:pic>
        <p:pic>
          <p:nvPicPr>
            <p:cNvPr id="122" name="Рисунок 121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003734" y="2358011"/>
              <a:ext cx="144000" cy="130672"/>
            </a:xfrm>
            <a:prstGeom prst="rect">
              <a:avLst/>
            </a:prstGeom>
          </p:spPr>
        </p:pic>
        <p:pic>
          <p:nvPicPr>
            <p:cNvPr id="123" name="Рисунок 122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331653" y="2358011"/>
              <a:ext cx="144000" cy="130672"/>
            </a:xfrm>
            <a:prstGeom prst="rect">
              <a:avLst/>
            </a:prstGeom>
          </p:spPr>
        </p:pic>
        <p:pic>
          <p:nvPicPr>
            <p:cNvPr id="124" name="Рисунок 123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80924" y="2358011"/>
              <a:ext cx="144000" cy="130672"/>
            </a:xfrm>
            <a:prstGeom prst="rect">
              <a:avLst/>
            </a:prstGeom>
          </p:spPr>
        </p:pic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22106" y="2358011"/>
              <a:ext cx="144000" cy="130672"/>
            </a:xfrm>
            <a:prstGeom prst="rect">
              <a:avLst/>
            </a:prstGeom>
          </p:spPr>
        </p:pic>
        <p:pic>
          <p:nvPicPr>
            <p:cNvPr id="126" name="Рисунок 125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39508" y="2358011"/>
              <a:ext cx="144000" cy="130672"/>
            </a:xfrm>
            <a:prstGeom prst="rect">
              <a:avLst/>
            </a:prstGeom>
          </p:spPr>
        </p:pic>
        <p:pic>
          <p:nvPicPr>
            <p:cNvPr id="127" name="Рисунок 126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89923" y="2358011"/>
              <a:ext cx="144000" cy="130672"/>
            </a:xfrm>
            <a:prstGeom prst="rect">
              <a:avLst/>
            </a:prstGeom>
          </p:spPr>
        </p:pic>
        <p:pic>
          <p:nvPicPr>
            <p:cNvPr id="128" name="Рисунок 127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69722" y="2358011"/>
              <a:ext cx="144000" cy="130672"/>
            </a:xfrm>
            <a:prstGeom prst="rect">
              <a:avLst/>
            </a:prstGeom>
          </p:spPr>
        </p:pic>
        <p:pic>
          <p:nvPicPr>
            <p:cNvPr id="129" name="Рисунок 128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684948" y="2358011"/>
              <a:ext cx="144000" cy="130672"/>
            </a:xfrm>
            <a:prstGeom prst="rect">
              <a:avLst/>
            </a:prstGeom>
          </p:spPr>
        </p:pic>
        <p:pic>
          <p:nvPicPr>
            <p:cNvPr id="130" name="Рисунок 129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26130" y="2358011"/>
              <a:ext cx="144000" cy="130672"/>
            </a:xfrm>
            <a:prstGeom prst="rect">
              <a:avLst/>
            </a:prstGeom>
          </p:spPr>
        </p:pic>
        <p:pic>
          <p:nvPicPr>
            <p:cNvPr id="131" name="Рисунок 130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43532" y="2358011"/>
              <a:ext cx="144000" cy="130672"/>
            </a:xfrm>
            <a:prstGeom prst="rect">
              <a:avLst/>
            </a:prstGeom>
          </p:spPr>
        </p:pic>
        <p:pic>
          <p:nvPicPr>
            <p:cNvPr id="132" name="Рисунок 131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493947" y="2358011"/>
              <a:ext cx="144000" cy="130672"/>
            </a:xfrm>
            <a:prstGeom prst="rect">
              <a:avLst/>
            </a:prstGeom>
          </p:spPr>
        </p:pic>
        <p:pic>
          <p:nvPicPr>
            <p:cNvPr id="133" name="Рисунок 132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54291" y="2358011"/>
              <a:ext cx="144000" cy="130672"/>
            </a:xfrm>
            <a:prstGeom prst="rect">
              <a:avLst/>
            </a:prstGeom>
          </p:spPr>
        </p:pic>
        <p:pic>
          <p:nvPicPr>
            <p:cNvPr id="134" name="Рисунок 133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19661" y="2358011"/>
              <a:ext cx="144000" cy="130672"/>
            </a:xfrm>
            <a:prstGeom prst="rect">
              <a:avLst/>
            </a:prstGeom>
          </p:spPr>
        </p:pic>
        <p:pic>
          <p:nvPicPr>
            <p:cNvPr id="135" name="Рисунок 134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22228" y="2918966"/>
              <a:ext cx="144000" cy="130672"/>
            </a:xfrm>
            <a:prstGeom prst="rect">
              <a:avLst/>
            </a:prstGeom>
          </p:spPr>
        </p:pic>
        <p:pic>
          <p:nvPicPr>
            <p:cNvPr id="136" name="Рисунок 135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82865" y="2918966"/>
              <a:ext cx="144000" cy="130672"/>
            </a:xfrm>
            <a:prstGeom prst="rect">
              <a:avLst/>
            </a:prstGeom>
          </p:spPr>
        </p:pic>
        <p:pic>
          <p:nvPicPr>
            <p:cNvPr id="137" name="Рисунок 136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900267" y="2918966"/>
              <a:ext cx="144000" cy="130672"/>
            </a:xfrm>
            <a:prstGeom prst="rect">
              <a:avLst/>
            </a:prstGeom>
          </p:spPr>
        </p:pic>
        <p:pic>
          <p:nvPicPr>
            <p:cNvPr id="138" name="Рисунок 137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50682" y="2918966"/>
              <a:ext cx="144000" cy="130672"/>
            </a:xfrm>
            <a:prstGeom prst="rect">
              <a:avLst/>
            </a:prstGeom>
          </p:spPr>
        </p:pic>
        <p:pic>
          <p:nvPicPr>
            <p:cNvPr id="139" name="Рисунок 138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78601" y="2918966"/>
              <a:ext cx="144000" cy="130672"/>
            </a:xfrm>
            <a:prstGeom prst="rect">
              <a:avLst/>
            </a:prstGeom>
          </p:spPr>
        </p:pic>
        <p:pic>
          <p:nvPicPr>
            <p:cNvPr id="140" name="Рисунок 139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78525" y="2918966"/>
              <a:ext cx="144000" cy="130672"/>
            </a:xfrm>
            <a:prstGeom prst="rect">
              <a:avLst/>
            </a:prstGeom>
          </p:spPr>
        </p:pic>
        <p:pic>
          <p:nvPicPr>
            <p:cNvPr id="141" name="Рисунок 140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839162" y="2918966"/>
              <a:ext cx="144000" cy="130672"/>
            </a:xfrm>
            <a:prstGeom prst="rect">
              <a:avLst/>
            </a:prstGeom>
          </p:spPr>
        </p:pic>
        <p:pic>
          <p:nvPicPr>
            <p:cNvPr id="142" name="Рисунок 141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656564" y="2918966"/>
              <a:ext cx="144000" cy="130672"/>
            </a:xfrm>
            <a:prstGeom prst="rect">
              <a:avLst/>
            </a:prstGeom>
          </p:spPr>
        </p:pic>
        <p:pic>
          <p:nvPicPr>
            <p:cNvPr id="143" name="Рисунок 142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006979" y="2918966"/>
              <a:ext cx="144000" cy="130672"/>
            </a:xfrm>
            <a:prstGeom prst="rect">
              <a:avLst/>
            </a:prstGeom>
          </p:spPr>
        </p:pic>
        <p:pic>
          <p:nvPicPr>
            <p:cNvPr id="144" name="Рисунок 143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334898" y="2918966"/>
              <a:ext cx="144000" cy="130672"/>
            </a:xfrm>
            <a:prstGeom prst="rect">
              <a:avLst/>
            </a:prstGeom>
          </p:spPr>
        </p:pic>
        <p:pic>
          <p:nvPicPr>
            <p:cNvPr id="145" name="Рисунок 144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84169" y="2918966"/>
              <a:ext cx="144000" cy="130672"/>
            </a:xfrm>
            <a:prstGeom prst="rect">
              <a:avLst/>
            </a:prstGeom>
          </p:spPr>
        </p:pic>
        <p:pic>
          <p:nvPicPr>
            <p:cNvPr id="146" name="Рисунок 145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25351" y="2918966"/>
              <a:ext cx="144000" cy="130672"/>
            </a:xfrm>
            <a:prstGeom prst="rect">
              <a:avLst/>
            </a:prstGeom>
          </p:spPr>
        </p:pic>
        <p:pic>
          <p:nvPicPr>
            <p:cNvPr id="147" name="Рисунок 146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242753" y="2918966"/>
              <a:ext cx="144000" cy="130672"/>
            </a:xfrm>
            <a:prstGeom prst="rect">
              <a:avLst/>
            </a:prstGeom>
          </p:spPr>
        </p:pic>
        <p:pic>
          <p:nvPicPr>
            <p:cNvPr id="148" name="Рисунок 147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593168" y="2918966"/>
              <a:ext cx="144000" cy="130672"/>
            </a:xfrm>
            <a:prstGeom prst="rect">
              <a:avLst/>
            </a:prstGeom>
          </p:spPr>
        </p:pic>
        <p:pic>
          <p:nvPicPr>
            <p:cNvPr id="149" name="Рисунок 148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72967" y="2918966"/>
              <a:ext cx="144000" cy="130672"/>
            </a:xfrm>
            <a:prstGeom prst="rect">
              <a:avLst/>
            </a:prstGeom>
          </p:spPr>
        </p:pic>
        <p:pic>
          <p:nvPicPr>
            <p:cNvPr id="150" name="Рисунок 149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688193" y="2918966"/>
              <a:ext cx="144000" cy="130672"/>
            </a:xfrm>
            <a:prstGeom prst="rect">
              <a:avLst/>
            </a:prstGeom>
          </p:spPr>
        </p:pic>
        <p:pic>
          <p:nvPicPr>
            <p:cNvPr id="151" name="Рисунок 150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29375" y="2918966"/>
              <a:ext cx="144000" cy="130672"/>
            </a:xfrm>
            <a:prstGeom prst="rect">
              <a:avLst/>
            </a:prstGeom>
          </p:spPr>
        </p:pic>
        <p:pic>
          <p:nvPicPr>
            <p:cNvPr id="152" name="Рисунок 151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46777" y="2918966"/>
              <a:ext cx="144000" cy="130672"/>
            </a:xfrm>
            <a:prstGeom prst="rect">
              <a:avLst/>
            </a:prstGeom>
          </p:spPr>
        </p:pic>
        <p:pic>
          <p:nvPicPr>
            <p:cNvPr id="153" name="Рисунок 152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497192" y="2918966"/>
              <a:ext cx="144000" cy="130672"/>
            </a:xfrm>
            <a:prstGeom prst="rect">
              <a:avLst/>
            </a:prstGeom>
          </p:spPr>
        </p:pic>
        <p:pic>
          <p:nvPicPr>
            <p:cNvPr id="154" name="Рисунок 153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57536" y="2918966"/>
              <a:ext cx="144000" cy="130672"/>
            </a:xfrm>
            <a:prstGeom prst="rect">
              <a:avLst/>
            </a:prstGeom>
          </p:spPr>
        </p:pic>
        <p:pic>
          <p:nvPicPr>
            <p:cNvPr id="155" name="Рисунок 154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022906" y="2918966"/>
              <a:ext cx="144000" cy="130672"/>
            </a:xfrm>
            <a:prstGeom prst="rect">
              <a:avLst/>
            </a:prstGeom>
          </p:spPr>
        </p:pic>
        <p:pic>
          <p:nvPicPr>
            <p:cNvPr id="156" name="Рисунок 155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959264" y="2562291"/>
              <a:ext cx="144000" cy="130672"/>
            </a:xfrm>
            <a:prstGeom prst="rect">
              <a:avLst/>
            </a:prstGeom>
          </p:spPr>
        </p:pic>
        <p:pic>
          <p:nvPicPr>
            <p:cNvPr id="157" name="Рисунок 156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600446" y="2562291"/>
              <a:ext cx="144000" cy="130672"/>
            </a:xfrm>
            <a:prstGeom prst="rect">
              <a:avLst/>
            </a:prstGeom>
          </p:spPr>
        </p:pic>
        <p:pic>
          <p:nvPicPr>
            <p:cNvPr id="158" name="Рисунок 157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417848" y="2562291"/>
              <a:ext cx="144000" cy="130672"/>
            </a:xfrm>
            <a:prstGeom prst="rect">
              <a:avLst/>
            </a:prstGeom>
          </p:spPr>
        </p:pic>
        <p:pic>
          <p:nvPicPr>
            <p:cNvPr id="159" name="Рисунок 158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768263" y="2562291"/>
              <a:ext cx="144000" cy="130672"/>
            </a:xfrm>
            <a:prstGeom prst="rect">
              <a:avLst/>
            </a:prstGeom>
          </p:spPr>
        </p:pic>
        <p:pic>
          <p:nvPicPr>
            <p:cNvPr id="160" name="Рисунок 159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148062" y="2562291"/>
              <a:ext cx="144000" cy="130672"/>
            </a:xfrm>
            <a:prstGeom prst="rect">
              <a:avLst/>
            </a:prstGeom>
          </p:spPr>
        </p:pic>
        <p:pic>
          <p:nvPicPr>
            <p:cNvPr id="161" name="Рисунок 160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863288" y="2562291"/>
              <a:ext cx="144000" cy="130672"/>
            </a:xfrm>
            <a:prstGeom prst="rect">
              <a:avLst/>
            </a:prstGeom>
          </p:spPr>
        </p:pic>
        <p:pic>
          <p:nvPicPr>
            <p:cNvPr id="162" name="Рисунок 161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504470" y="2562291"/>
              <a:ext cx="144000" cy="130672"/>
            </a:xfrm>
            <a:prstGeom prst="rect">
              <a:avLst/>
            </a:prstGeom>
          </p:spPr>
        </p:pic>
        <p:pic>
          <p:nvPicPr>
            <p:cNvPr id="163" name="Рисунок 162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321872" y="2562291"/>
              <a:ext cx="144000" cy="130672"/>
            </a:xfrm>
            <a:prstGeom prst="rect">
              <a:avLst/>
            </a:prstGeom>
          </p:spPr>
        </p:pic>
        <p:pic>
          <p:nvPicPr>
            <p:cNvPr id="164" name="Рисунок 163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6672287" y="2562291"/>
              <a:ext cx="144000" cy="130672"/>
            </a:xfrm>
            <a:prstGeom prst="rect">
              <a:avLst/>
            </a:prstGeom>
          </p:spPr>
        </p:pic>
        <p:pic>
          <p:nvPicPr>
            <p:cNvPr id="173" name="Рисунок 172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175285" y="2675781"/>
              <a:ext cx="144000" cy="130672"/>
            </a:xfrm>
            <a:prstGeom prst="rect">
              <a:avLst/>
            </a:prstGeom>
          </p:spPr>
        </p:pic>
        <p:pic>
          <p:nvPicPr>
            <p:cNvPr id="174" name="Рисунок 173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842407" y="2675781"/>
              <a:ext cx="144000" cy="130672"/>
            </a:xfrm>
            <a:prstGeom prst="rect">
              <a:avLst/>
            </a:prstGeom>
          </p:spPr>
        </p:pic>
        <p:pic>
          <p:nvPicPr>
            <p:cNvPr id="176" name="Рисунок 175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679264" y="2675781"/>
              <a:ext cx="144000" cy="130672"/>
            </a:xfrm>
            <a:prstGeom prst="rect">
              <a:avLst/>
            </a:prstGeom>
          </p:spPr>
        </p:pic>
        <p:pic>
          <p:nvPicPr>
            <p:cNvPr id="194" name="Рисунок 193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8010224" y="2675781"/>
              <a:ext cx="144000" cy="130672"/>
            </a:xfrm>
            <a:prstGeom prst="rect">
              <a:avLst/>
            </a:prstGeom>
          </p:spPr>
        </p:pic>
        <p:pic>
          <p:nvPicPr>
            <p:cNvPr id="198" name="Рисунок 197">
              <a:extLst>
                <a:ext uri="{FF2B5EF4-FFF2-40B4-BE49-F238E27FC236}">
                  <a16:creationId xmlns:a16="http://schemas.microsoft.com/office/drawing/2014/main" id="{E67EDD47-BF6D-4150-8DE5-6E25D4A842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578624" y="2687233"/>
              <a:ext cx="144000" cy="130672"/>
            </a:xfrm>
            <a:prstGeom prst="rect">
              <a:avLst/>
            </a:prstGeom>
          </p:spPr>
        </p:pic>
        <p:pic>
          <p:nvPicPr>
            <p:cNvPr id="199" name="Рисунок 198">
              <a:extLst>
                <a:ext uri="{FF2B5EF4-FFF2-40B4-BE49-F238E27FC236}">
                  <a16:creationId xmlns:a16="http://schemas.microsoft.com/office/drawing/2014/main" id="{6461EFE0-6AA0-48FB-85A5-9A03F8F64C9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245746" y="2687233"/>
              <a:ext cx="144000" cy="130672"/>
            </a:xfrm>
            <a:prstGeom prst="rect">
              <a:avLst/>
            </a:prstGeom>
          </p:spPr>
        </p:pic>
        <p:pic>
          <p:nvPicPr>
            <p:cNvPr id="201" name="Рисунок 200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82603" y="2687233"/>
              <a:ext cx="144000" cy="130672"/>
            </a:xfrm>
            <a:prstGeom prst="rect">
              <a:avLst/>
            </a:prstGeom>
          </p:spPr>
        </p:pic>
        <p:pic>
          <p:nvPicPr>
            <p:cNvPr id="203" name="Рисунок 202">
              <a:extLst>
                <a:ext uri="{FF2B5EF4-FFF2-40B4-BE49-F238E27FC236}">
                  <a16:creationId xmlns:a16="http://schemas.microsoft.com/office/drawing/2014/main" id="{4848CBAC-3E1C-4BB2-B191-0B04152F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413563" y="2687233"/>
              <a:ext cx="144000" cy="130672"/>
            </a:xfrm>
            <a:prstGeom prst="rect">
              <a:avLst/>
            </a:prstGeom>
          </p:spPr>
        </p:pic>
      </p:grpSp>
      <p:sp>
        <p:nvSpPr>
          <p:cNvPr id="7" name="Прямоугольник 6"/>
          <p:cNvSpPr/>
          <p:nvPr/>
        </p:nvSpPr>
        <p:spPr>
          <a:xfrm>
            <a:off x="252915" y="2320331"/>
            <a:ext cx="3260437" cy="7335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1" hangingPunct="1">
              <a:lnSpc>
                <a:spcPts val="1100"/>
              </a:lnSpc>
              <a:spcBef>
                <a:spcPts val="1800"/>
              </a:spcBef>
              <a:buNone/>
              <a:defRPr/>
            </a:pPr>
            <a:r>
              <a:rPr lang="ru-RU" altLang="ru-RU" sz="1100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</a:rPr>
              <a:t>если в ряду 3 места</a:t>
            </a:r>
          </a:p>
          <a:p>
            <a:pPr lvl="0" eaLnBrk="1" hangingPunct="1">
              <a:lnSpc>
                <a:spcPts val="1100"/>
              </a:lnSpc>
              <a:spcBef>
                <a:spcPts val="600"/>
              </a:spcBef>
              <a:buNone/>
              <a:defRPr/>
            </a:pPr>
            <a:r>
              <a:rPr lang="ru-RU" altLang="ru-RU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</a:rPr>
              <a:t>по 2 пассажира на каждый ряд на</a:t>
            </a:r>
          </a:p>
          <a:p>
            <a:pPr lvl="0" eaLnBrk="1" hangingPunct="1">
              <a:lnSpc>
                <a:spcPts val="1100"/>
              </a:lnSpc>
              <a:spcBef>
                <a:spcPts val="0"/>
              </a:spcBef>
              <a:buNone/>
              <a:defRPr/>
            </a:pPr>
            <a:r>
              <a:rPr lang="ru-RU" altLang="ru-RU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</a:rPr>
              <a:t>места у окна и у прохода</a:t>
            </a:r>
          </a:p>
          <a:p>
            <a:pPr lvl="0" eaLnBrk="1" hangingPunct="1">
              <a:lnSpc>
                <a:spcPts val="1100"/>
              </a:lnSpc>
              <a:spcBef>
                <a:spcPts val="0"/>
              </a:spcBef>
              <a:buNone/>
              <a:defRPr/>
            </a:pPr>
            <a:r>
              <a:rPr lang="ru-RU" altLang="ru-RU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 pitchFamily="34" charset="0"/>
              </a:rPr>
              <a:t>(средний ряд остается свободным)</a:t>
            </a:r>
          </a:p>
        </p:txBody>
      </p:sp>
    </p:spTree>
    <p:extLst>
      <p:ext uri="{BB962C8B-B14F-4D97-AF65-F5344CB8AC3E}">
        <p14:creationId xmlns:p14="http://schemas.microsoft.com/office/powerpoint/2010/main" val="2286079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2.87534984663109183245E+00&quot;&gt;&lt;m_msothmcolidx val=&quot;0&quot;/&gt;&lt;m_rgb r=&quot;FF&quot; g=&quot;00&quot; b=&quot;00&quot;/&gt;&lt;m_nBrightness endver=&quot;26206&quot; val=&quot;0&quot;/&gt;&lt;/elem&gt;&lt;elem m_fUsage=&quot;2.82001626824649420655E+00&quot;&gt;&lt;m_msothmcolidx val=&quot;0&quot;/&gt;&lt;m_rgb r=&quot;F4&quot; g=&quot;AA&quot; b=&quot;AF&quot;/&gt;&lt;m_nBrightness endver=&quot;26206&quot; val=&quot;0&quot;/&gt;&lt;/elem&gt;&lt;elem m_fUsage=&quot;2.49386576309505469951E+00&quot;&gt;&lt;m_msothmcolidx val=&quot;0&quot;/&gt;&lt;m_rgb r=&quot;00&quot; g=&quot;B0&quot; b=&quot;50&quot;/&gt;&lt;m_nBrightness endver=&quot;26206&quot; val=&quot;0&quot;/&gt;&lt;/elem&gt;&lt;elem m_fUsage=&quot;1.28742048900000027878E+00&quot;&gt;&lt;m_msothmcolidx val=&quot;0&quot;/&gt;&lt;m_rgb r=&quot;BC&quot; g=&quot;DE&quot; b=&quot;C2&quot;/&gt;&lt;m_nBrightness endver=&quot;26206&quot; val=&quot;0&quot;/&gt;&lt;/elem&gt;&lt;elem m_fUsage=&quot;5.23347633027360994995E-02&quot;&gt;&lt;m_msothmcolidx val=&quot;0&quot;/&gt;&lt;m_rgb r=&quot;57&quot; g=&quot;CB&quot; b=&quot;4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bWPgwPgXTVpdtS6THfJA"/>
</p:tagLst>
</file>

<file path=ppt/theme/theme1.xml><?xml version="1.0" encoding="utf-8"?>
<a:theme xmlns:a="http://schemas.openxmlformats.org/drawingml/2006/main" name="1_Шаблон_презентация">
  <a:themeElements>
    <a:clrScheme name="Другая 1">
      <a:dk1>
        <a:sysClr val="windowText" lastClr="000000"/>
      </a:dk1>
      <a:lt1>
        <a:srgbClr val="DDDDDD"/>
      </a:lt1>
      <a:dk2>
        <a:srgbClr val="FFFFFF"/>
      </a:dk2>
      <a:lt2>
        <a:srgbClr val="FFFFFF"/>
      </a:lt2>
      <a:accent1>
        <a:srgbClr val="DDDDDD"/>
      </a:accent1>
      <a:accent2>
        <a:srgbClr val="FFFFFF"/>
      </a:accent2>
      <a:accent3>
        <a:srgbClr val="E21A1A"/>
      </a:accent3>
      <a:accent4>
        <a:srgbClr val="B2B2B2"/>
      </a:accent4>
      <a:accent5>
        <a:srgbClr val="394A58"/>
      </a:accent5>
      <a:accent6>
        <a:srgbClr val="333333"/>
      </a:accent6>
      <a:hlink>
        <a:srgbClr val="000000"/>
      </a:hlink>
      <a:folHlink>
        <a:srgbClr val="E72919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094</TotalTime>
  <Words>158</Words>
  <Application>Microsoft Office PowerPoint</Application>
  <PresentationFormat>Экран (16:9)</PresentationFormat>
  <Paragraphs>19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1" baseType="lpstr">
      <vt:lpstr>ＭＳ Ｐゴシック</vt:lpstr>
      <vt:lpstr>Arial</vt:lpstr>
      <vt:lpstr>Calibri</vt:lpstr>
      <vt:lpstr>RussianRail G Pro Extended</vt:lpstr>
      <vt:lpstr>Verdana</vt:lpstr>
      <vt:lpstr>Wingdings</vt:lpstr>
      <vt:lpstr>1_Шаблон_презентация</vt:lpstr>
      <vt:lpstr>6_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</dc:title>
  <dc:creator>Mikhail Vorobyev</dc:creator>
  <cp:keywords>StarOffice</cp:keywords>
  <cp:lastModifiedBy>Юлия Зерцалова</cp:lastModifiedBy>
  <cp:revision>1247</cp:revision>
  <cp:lastPrinted>2020-04-01T15:07:43Z</cp:lastPrinted>
  <dcterms:created xsi:type="dcterms:W3CDTF">2012-10-17T07:48:09Z</dcterms:created>
  <dcterms:modified xsi:type="dcterms:W3CDTF">2020-04-07T08:14:27Z</dcterms:modified>
</cp:coreProperties>
</file>